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1"/>
  </p:notesMasterIdLst>
  <p:handoutMasterIdLst>
    <p:handoutMasterId r:id="rId22"/>
  </p:handoutMasterIdLst>
  <p:sldIdLst>
    <p:sldId id="359" r:id="rId5"/>
    <p:sldId id="357" r:id="rId6"/>
    <p:sldId id="379" r:id="rId7"/>
    <p:sldId id="376" r:id="rId8"/>
    <p:sldId id="377" r:id="rId9"/>
    <p:sldId id="378" r:id="rId10"/>
    <p:sldId id="387" r:id="rId11"/>
    <p:sldId id="386" r:id="rId12"/>
    <p:sldId id="348" r:id="rId13"/>
    <p:sldId id="342" r:id="rId14"/>
    <p:sldId id="370" r:id="rId15"/>
    <p:sldId id="388" r:id="rId16"/>
    <p:sldId id="369" r:id="rId17"/>
    <p:sldId id="373" r:id="rId18"/>
    <p:sldId id="374" r:id="rId19"/>
    <p:sldId id="389" r:id="rId20"/>
  </p:sldIdLst>
  <p:sldSz cx="17068800" cy="9601200"/>
  <p:notesSz cx="6735763" cy="9866313"/>
  <p:defaultTextStyle>
    <a:defPPr>
      <a:defRPr lang="fi-FI"/>
    </a:defPPr>
    <a:lvl1pPr marL="0" algn="l" defTabSz="1075334" rtl="0" eaLnBrk="1" latinLnBrk="0" hangingPunct="1">
      <a:defRPr sz="2117" kern="1200">
        <a:solidFill>
          <a:schemeClr val="tx1"/>
        </a:solidFill>
        <a:latin typeface="+mn-lt"/>
        <a:ea typeface="+mn-ea"/>
        <a:cs typeface="+mn-cs"/>
      </a:defRPr>
    </a:lvl1pPr>
    <a:lvl2pPr marL="537667" algn="l" defTabSz="1075334" rtl="0" eaLnBrk="1" latinLnBrk="0" hangingPunct="1">
      <a:defRPr sz="2117" kern="1200">
        <a:solidFill>
          <a:schemeClr val="tx1"/>
        </a:solidFill>
        <a:latin typeface="+mn-lt"/>
        <a:ea typeface="+mn-ea"/>
        <a:cs typeface="+mn-cs"/>
      </a:defRPr>
    </a:lvl2pPr>
    <a:lvl3pPr marL="1075334" algn="l" defTabSz="1075334" rtl="0" eaLnBrk="1" latinLnBrk="0" hangingPunct="1">
      <a:defRPr sz="2117" kern="1200">
        <a:solidFill>
          <a:schemeClr val="tx1"/>
        </a:solidFill>
        <a:latin typeface="+mn-lt"/>
        <a:ea typeface="+mn-ea"/>
        <a:cs typeface="+mn-cs"/>
      </a:defRPr>
    </a:lvl3pPr>
    <a:lvl4pPr marL="1613002" algn="l" defTabSz="1075334" rtl="0" eaLnBrk="1" latinLnBrk="0" hangingPunct="1">
      <a:defRPr sz="2117" kern="1200">
        <a:solidFill>
          <a:schemeClr val="tx1"/>
        </a:solidFill>
        <a:latin typeface="+mn-lt"/>
        <a:ea typeface="+mn-ea"/>
        <a:cs typeface="+mn-cs"/>
      </a:defRPr>
    </a:lvl4pPr>
    <a:lvl5pPr marL="2150669" algn="l" defTabSz="1075334" rtl="0" eaLnBrk="1" latinLnBrk="0" hangingPunct="1">
      <a:defRPr sz="2117" kern="1200">
        <a:solidFill>
          <a:schemeClr val="tx1"/>
        </a:solidFill>
        <a:latin typeface="+mn-lt"/>
        <a:ea typeface="+mn-ea"/>
        <a:cs typeface="+mn-cs"/>
      </a:defRPr>
    </a:lvl5pPr>
    <a:lvl6pPr marL="2688336" algn="l" defTabSz="1075334" rtl="0" eaLnBrk="1" latinLnBrk="0" hangingPunct="1">
      <a:defRPr sz="2117" kern="1200">
        <a:solidFill>
          <a:schemeClr val="tx1"/>
        </a:solidFill>
        <a:latin typeface="+mn-lt"/>
        <a:ea typeface="+mn-ea"/>
        <a:cs typeface="+mn-cs"/>
      </a:defRPr>
    </a:lvl6pPr>
    <a:lvl7pPr marL="3226003" algn="l" defTabSz="1075334" rtl="0" eaLnBrk="1" latinLnBrk="0" hangingPunct="1">
      <a:defRPr sz="2117" kern="1200">
        <a:solidFill>
          <a:schemeClr val="tx1"/>
        </a:solidFill>
        <a:latin typeface="+mn-lt"/>
        <a:ea typeface="+mn-ea"/>
        <a:cs typeface="+mn-cs"/>
      </a:defRPr>
    </a:lvl7pPr>
    <a:lvl8pPr marL="3763670" algn="l" defTabSz="1075334" rtl="0" eaLnBrk="1" latinLnBrk="0" hangingPunct="1">
      <a:defRPr sz="2117" kern="1200">
        <a:solidFill>
          <a:schemeClr val="tx1"/>
        </a:solidFill>
        <a:latin typeface="+mn-lt"/>
        <a:ea typeface="+mn-ea"/>
        <a:cs typeface="+mn-cs"/>
      </a:defRPr>
    </a:lvl8pPr>
    <a:lvl9pPr marL="4301338" algn="l" defTabSz="1075334" rtl="0" eaLnBrk="1" latinLnBrk="0" hangingPunct="1">
      <a:defRPr sz="2117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24" userDrawn="1">
          <p15:clr>
            <a:srgbClr val="A4A3A4"/>
          </p15:clr>
        </p15:guide>
        <p15:guide id="2" pos="5376" userDrawn="1">
          <p15:clr>
            <a:srgbClr val="A4A3A4"/>
          </p15:clr>
        </p15:guide>
        <p15:guide id="3" orient="horz" pos="1309" userDrawn="1">
          <p15:clr>
            <a:srgbClr val="A4A3A4"/>
          </p15:clr>
        </p15:guide>
        <p15:guide id="4" orient="horz" pos="5373" userDrawn="1">
          <p15:clr>
            <a:srgbClr val="A4A3A4"/>
          </p15:clr>
        </p15:guide>
        <p15:guide id="5" pos="485" userDrawn="1">
          <p15:clr>
            <a:srgbClr val="A4A3A4"/>
          </p15:clr>
        </p15:guide>
        <p15:guide id="6" pos="1026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8" userDrawn="1">
          <p15:clr>
            <a:srgbClr val="A4A3A4"/>
          </p15:clr>
        </p15:guide>
        <p15:guide id="2" pos="212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hizhin Alexander" initials="ZA" lastIdx="1" clrIdx="0">
    <p:extLst>
      <p:ext uri="{19B8F6BF-5375-455C-9EA6-DF929625EA0E}">
        <p15:presenceInfo xmlns:p15="http://schemas.microsoft.com/office/powerpoint/2012/main" userId="S::alexander.zhizhin@fortum.com::1744cf81-5033-49c6-ac65-db2cb706729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AC37D"/>
    <a:srgbClr val="FFFFFF"/>
    <a:srgbClr val="8FAADC"/>
    <a:srgbClr val="DFE5EB"/>
    <a:srgbClr val="49A5AB"/>
    <a:srgbClr val="FF9900"/>
    <a:srgbClr val="5FA7C9"/>
    <a:srgbClr val="2D7566"/>
    <a:srgbClr val="F3F3F3"/>
    <a:srgbClr val="6E9AD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Средний стиль 1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E25E649-3F16-4E02-A733-19D2CDBF48F0}" styleName="Средний стиль 3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660B408-B3CF-4A94-85FC-2B1E0A45F4A2}" styleName="Темный стиль 2 — акцент 1/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0505E3EF-67EA-436B-97B2-0124C06EBD24}" styleName="Средний стиль 4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726" autoAdjust="0"/>
    <p:restoredTop sz="96404" autoAdjust="0"/>
  </p:normalViewPr>
  <p:slideViewPr>
    <p:cSldViewPr snapToGrid="0" showGuides="1">
      <p:cViewPr varScale="1">
        <p:scale>
          <a:sx n="80" d="100"/>
          <a:sy n="80" d="100"/>
        </p:scale>
        <p:origin x="534" y="96"/>
      </p:cViewPr>
      <p:guideLst>
        <p:guide orient="horz" pos="3024"/>
        <p:guide pos="5376"/>
        <p:guide orient="horz" pos="1309"/>
        <p:guide orient="horz" pos="5373"/>
        <p:guide pos="485"/>
        <p:guide pos="1026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8" d="100"/>
          <a:sy n="88" d="100"/>
        </p:scale>
        <p:origin x="-3870" y="-120"/>
      </p:cViewPr>
      <p:guideLst>
        <p:guide orient="horz" pos="3108"/>
        <p:guide pos="212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45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Zhizhin Alexander" userId="1744cf81-5033-49c6-ac65-db2cb706729e" providerId="ADAL" clId="{A6CB4C83-2B68-4D60-AF19-46827A504C6B}"/>
    <pc:docChg chg="undo custSel addSld delSld modSld sldOrd">
      <pc:chgData name="Zhizhin Alexander" userId="1744cf81-5033-49c6-ac65-db2cb706729e" providerId="ADAL" clId="{A6CB4C83-2B68-4D60-AF19-46827A504C6B}" dt="2022-01-25T11:39:07.104" v="2204" actId="1076"/>
      <pc:docMkLst>
        <pc:docMk/>
      </pc:docMkLst>
      <pc:sldChg chg="del">
        <pc:chgData name="Zhizhin Alexander" userId="1744cf81-5033-49c6-ac65-db2cb706729e" providerId="ADAL" clId="{A6CB4C83-2B68-4D60-AF19-46827A504C6B}" dt="2022-01-25T11:26:25.925" v="1799" actId="47"/>
        <pc:sldMkLst>
          <pc:docMk/>
          <pc:sldMk cId="4036429739" sldId="328"/>
        </pc:sldMkLst>
      </pc:sldChg>
      <pc:sldChg chg="addSp delSp modSp add mod ord">
        <pc:chgData name="Zhizhin Alexander" userId="1744cf81-5033-49c6-ac65-db2cb706729e" providerId="ADAL" clId="{A6CB4C83-2B68-4D60-AF19-46827A504C6B}" dt="2022-01-25T11:32:41.253" v="1889" actId="20577"/>
        <pc:sldMkLst>
          <pc:docMk/>
          <pc:sldMk cId="464122120" sldId="329"/>
        </pc:sldMkLst>
        <pc:spChg chg="add mod">
          <ac:chgData name="Zhizhin Alexander" userId="1744cf81-5033-49c6-ac65-db2cb706729e" providerId="ADAL" clId="{A6CB4C83-2B68-4D60-AF19-46827A504C6B}" dt="2022-01-25T11:10:33.613" v="1550" actId="404"/>
          <ac:spMkLst>
            <pc:docMk/>
            <pc:sldMk cId="464122120" sldId="329"/>
            <ac:spMk id="31" creationId="{D018CECF-1644-4040-AB94-BE805C8E20A9}"/>
          </ac:spMkLst>
        </pc:spChg>
        <pc:spChg chg="add mod">
          <ac:chgData name="Zhizhin Alexander" userId="1744cf81-5033-49c6-ac65-db2cb706729e" providerId="ADAL" clId="{A6CB4C83-2B68-4D60-AF19-46827A504C6B}" dt="2022-01-25T10:33:28.280" v="479" actId="1076"/>
          <ac:spMkLst>
            <pc:docMk/>
            <pc:sldMk cId="464122120" sldId="329"/>
            <ac:spMk id="44" creationId="{A9432E73-3FB3-42C6-AB41-BB201923E814}"/>
          </ac:spMkLst>
        </pc:spChg>
        <pc:spChg chg="add mod">
          <ac:chgData name="Zhizhin Alexander" userId="1744cf81-5033-49c6-ac65-db2cb706729e" providerId="ADAL" clId="{A6CB4C83-2B68-4D60-AF19-46827A504C6B}" dt="2022-01-25T11:10:42.376" v="1552" actId="1076"/>
          <ac:spMkLst>
            <pc:docMk/>
            <pc:sldMk cId="464122120" sldId="329"/>
            <ac:spMk id="50" creationId="{C487161D-F4F1-4943-8992-B8120488246B}"/>
          </ac:spMkLst>
        </pc:spChg>
        <pc:spChg chg="del mod">
          <ac:chgData name="Zhizhin Alexander" userId="1744cf81-5033-49c6-ac65-db2cb706729e" providerId="ADAL" clId="{A6CB4C83-2B68-4D60-AF19-46827A504C6B}" dt="2022-01-25T10:28:11.927" v="293" actId="478"/>
          <ac:spMkLst>
            <pc:docMk/>
            <pc:sldMk cId="464122120" sldId="329"/>
            <ac:spMk id="58" creationId="{159730A6-3779-488B-B161-EB639CEFE800}"/>
          </ac:spMkLst>
        </pc:spChg>
        <pc:spChg chg="del">
          <ac:chgData name="Zhizhin Alexander" userId="1744cf81-5033-49c6-ac65-db2cb706729e" providerId="ADAL" clId="{A6CB4C83-2B68-4D60-AF19-46827A504C6B}" dt="2022-01-24T19:12:56.115" v="40" actId="478"/>
          <ac:spMkLst>
            <pc:docMk/>
            <pc:sldMk cId="464122120" sldId="329"/>
            <ac:spMk id="59" creationId="{62AB061A-9E1C-4500-B0B4-F403DBA01F9D}"/>
          </ac:spMkLst>
        </pc:spChg>
        <pc:spChg chg="mod">
          <ac:chgData name="Zhizhin Alexander" userId="1744cf81-5033-49c6-ac65-db2cb706729e" providerId="ADAL" clId="{A6CB4C83-2B68-4D60-AF19-46827A504C6B}" dt="2022-01-25T10:35:48.766" v="557" actId="1076"/>
          <ac:spMkLst>
            <pc:docMk/>
            <pc:sldMk cId="464122120" sldId="329"/>
            <ac:spMk id="61" creationId="{C749A7D1-BBF9-4021-92FC-6A9648EA195D}"/>
          </ac:spMkLst>
        </pc:spChg>
        <pc:spChg chg="add mod">
          <ac:chgData name="Zhizhin Alexander" userId="1744cf81-5033-49c6-ac65-db2cb706729e" providerId="ADAL" clId="{A6CB4C83-2B68-4D60-AF19-46827A504C6B}" dt="2022-01-25T10:35:02.359" v="520" actId="1076"/>
          <ac:spMkLst>
            <pc:docMk/>
            <pc:sldMk cId="464122120" sldId="329"/>
            <ac:spMk id="62" creationId="{EC9920E4-72D6-456D-8E58-A5C4207CAA04}"/>
          </ac:spMkLst>
        </pc:spChg>
        <pc:spChg chg="add del mod">
          <ac:chgData name="Zhizhin Alexander" userId="1744cf81-5033-49c6-ac65-db2cb706729e" providerId="ADAL" clId="{A6CB4C83-2B68-4D60-AF19-46827A504C6B}" dt="2022-01-24T19:39:53.032" v="276"/>
          <ac:spMkLst>
            <pc:docMk/>
            <pc:sldMk cId="464122120" sldId="329"/>
            <ac:spMk id="63" creationId="{161FD5B2-FF54-4C70-99A0-77E51B90C699}"/>
          </ac:spMkLst>
        </pc:spChg>
        <pc:spChg chg="add mod">
          <ac:chgData name="Zhizhin Alexander" userId="1744cf81-5033-49c6-ac65-db2cb706729e" providerId="ADAL" clId="{A6CB4C83-2B68-4D60-AF19-46827A504C6B}" dt="2022-01-25T10:36:31.484" v="614" actId="20577"/>
          <ac:spMkLst>
            <pc:docMk/>
            <pc:sldMk cId="464122120" sldId="329"/>
            <ac:spMk id="67" creationId="{63341302-A41F-41C5-9533-C4B07C5BC48A}"/>
          </ac:spMkLst>
        </pc:spChg>
        <pc:spChg chg="mod">
          <ac:chgData name="Zhizhin Alexander" userId="1744cf81-5033-49c6-ac65-db2cb706729e" providerId="ADAL" clId="{A6CB4C83-2B68-4D60-AF19-46827A504C6B}" dt="2022-01-25T11:02:53.247" v="1262" actId="1076"/>
          <ac:spMkLst>
            <pc:docMk/>
            <pc:sldMk cId="464122120" sldId="329"/>
            <ac:spMk id="73" creationId="{775D8ADD-B906-4BA8-AA29-33AD611FACC5}"/>
          </ac:spMkLst>
        </pc:spChg>
        <pc:spChg chg="add mod">
          <ac:chgData name="Zhizhin Alexander" userId="1744cf81-5033-49c6-ac65-db2cb706729e" providerId="ADAL" clId="{A6CB4C83-2B68-4D60-AF19-46827A504C6B}" dt="2022-01-25T10:38:10.546" v="699" actId="20577"/>
          <ac:spMkLst>
            <pc:docMk/>
            <pc:sldMk cId="464122120" sldId="329"/>
            <ac:spMk id="74" creationId="{C179264C-A347-4BDF-8D11-1CCF50E3066A}"/>
          </ac:spMkLst>
        </pc:spChg>
        <pc:spChg chg="add mod">
          <ac:chgData name="Zhizhin Alexander" userId="1744cf81-5033-49c6-ac65-db2cb706729e" providerId="ADAL" clId="{A6CB4C83-2B68-4D60-AF19-46827A504C6B}" dt="2022-01-25T10:37:58.884" v="698" actId="20577"/>
          <ac:spMkLst>
            <pc:docMk/>
            <pc:sldMk cId="464122120" sldId="329"/>
            <ac:spMk id="75" creationId="{71C0C27E-F9C6-4924-A043-B3D09183BEFF}"/>
          </ac:spMkLst>
        </pc:spChg>
        <pc:spChg chg="add mod">
          <ac:chgData name="Zhizhin Alexander" userId="1744cf81-5033-49c6-ac65-db2cb706729e" providerId="ADAL" clId="{A6CB4C83-2B68-4D60-AF19-46827A504C6B}" dt="2022-01-25T10:41:02.923" v="930" actId="1076"/>
          <ac:spMkLst>
            <pc:docMk/>
            <pc:sldMk cId="464122120" sldId="329"/>
            <ac:spMk id="79" creationId="{404859D6-CB3E-41F7-ACDC-5D9A5EBD1F19}"/>
          </ac:spMkLst>
        </pc:spChg>
        <pc:spChg chg="add mod">
          <ac:chgData name="Zhizhin Alexander" userId="1744cf81-5033-49c6-ac65-db2cb706729e" providerId="ADAL" clId="{A6CB4C83-2B68-4D60-AF19-46827A504C6B}" dt="2022-01-25T10:41:02.923" v="930" actId="1076"/>
          <ac:spMkLst>
            <pc:docMk/>
            <pc:sldMk cId="464122120" sldId="329"/>
            <ac:spMk id="80" creationId="{7EB96FD8-9E1B-44EF-A43A-2FE13FA3A3BA}"/>
          </ac:spMkLst>
        </pc:spChg>
        <pc:spChg chg="mod">
          <ac:chgData name="Zhizhin Alexander" userId="1744cf81-5033-49c6-ac65-db2cb706729e" providerId="ADAL" clId="{A6CB4C83-2B68-4D60-AF19-46827A504C6B}" dt="2022-01-25T11:20:32.529" v="1641" actId="14100"/>
          <ac:spMkLst>
            <pc:docMk/>
            <pc:sldMk cId="464122120" sldId="329"/>
            <ac:spMk id="83" creationId="{00000000-0000-0000-0000-000000000000}"/>
          </ac:spMkLst>
        </pc:spChg>
        <pc:spChg chg="del">
          <ac:chgData name="Zhizhin Alexander" userId="1744cf81-5033-49c6-ac65-db2cb706729e" providerId="ADAL" clId="{A6CB4C83-2B68-4D60-AF19-46827A504C6B}" dt="2022-01-24T19:12:52.163" v="38" actId="478"/>
          <ac:spMkLst>
            <pc:docMk/>
            <pc:sldMk cId="464122120" sldId="329"/>
            <ac:spMk id="84" creationId="{C29EB31E-091E-4234-81A2-6CFF5FA8A2C2}"/>
          </ac:spMkLst>
        </pc:spChg>
        <pc:spChg chg="add mod">
          <ac:chgData name="Zhizhin Alexander" userId="1744cf81-5033-49c6-ac65-db2cb706729e" providerId="ADAL" clId="{A6CB4C83-2B68-4D60-AF19-46827A504C6B}" dt="2022-01-25T10:43:19.505" v="988" actId="14100"/>
          <ac:spMkLst>
            <pc:docMk/>
            <pc:sldMk cId="464122120" sldId="329"/>
            <ac:spMk id="86" creationId="{C21BFA7A-402C-4F79-82F3-2F44F02B4874}"/>
          </ac:spMkLst>
        </pc:spChg>
        <pc:spChg chg="add mod">
          <ac:chgData name="Zhizhin Alexander" userId="1744cf81-5033-49c6-ac65-db2cb706729e" providerId="ADAL" clId="{A6CB4C83-2B68-4D60-AF19-46827A504C6B}" dt="2022-01-25T11:32:41.253" v="1889" actId="20577"/>
          <ac:spMkLst>
            <pc:docMk/>
            <pc:sldMk cId="464122120" sldId="329"/>
            <ac:spMk id="87" creationId="{7B23EB0A-A621-4F77-826B-CD74975EC56C}"/>
          </ac:spMkLst>
        </pc:spChg>
        <pc:spChg chg="del mod">
          <ac:chgData name="Zhizhin Alexander" userId="1744cf81-5033-49c6-ac65-db2cb706729e" providerId="ADAL" clId="{A6CB4C83-2B68-4D60-AF19-46827A504C6B}" dt="2022-01-25T10:28:22.755" v="296" actId="478"/>
          <ac:spMkLst>
            <pc:docMk/>
            <pc:sldMk cId="464122120" sldId="329"/>
            <ac:spMk id="91" creationId="{3BFF321C-9304-4AE3-9782-1B361F5C47D0}"/>
          </ac:spMkLst>
        </pc:spChg>
        <pc:spChg chg="add mod">
          <ac:chgData name="Zhizhin Alexander" userId="1744cf81-5033-49c6-ac65-db2cb706729e" providerId="ADAL" clId="{A6CB4C83-2B68-4D60-AF19-46827A504C6B}" dt="2022-01-25T10:43:44.284" v="1001" actId="404"/>
          <ac:spMkLst>
            <pc:docMk/>
            <pc:sldMk cId="464122120" sldId="329"/>
            <ac:spMk id="93" creationId="{D89E76D1-14CE-4CD1-9704-0A562030B07B}"/>
          </ac:spMkLst>
        </pc:spChg>
        <pc:spChg chg="del mod">
          <ac:chgData name="Zhizhin Alexander" userId="1744cf81-5033-49c6-ac65-db2cb706729e" providerId="ADAL" clId="{A6CB4C83-2B68-4D60-AF19-46827A504C6B}" dt="2022-01-25T10:28:25.089" v="297" actId="478"/>
          <ac:spMkLst>
            <pc:docMk/>
            <pc:sldMk cId="464122120" sldId="329"/>
            <ac:spMk id="95" creationId="{BD169208-68F6-4E84-A2E2-1F7267C34193}"/>
          </ac:spMkLst>
        </pc:spChg>
        <pc:spChg chg="add del mod">
          <ac:chgData name="Zhizhin Alexander" userId="1744cf81-5033-49c6-ac65-db2cb706729e" providerId="ADAL" clId="{A6CB4C83-2B68-4D60-AF19-46827A504C6B}" dt="2022-01-25T11:03:11.591" v="1268" actId="6549"/>
          <ac:spMkLst>
            <pc:docMk/>
            <pc:sldMk cId="464122120" sldId="329"/>
            <ac:spMk id="96" creationId="{3CDB95CA-C522-4FAF-AAC5-9AD0365AC005}"/>
          </ac:spMkLst>
        </pc:spChg>
        <pc:spChg chg="del mod">
          <ac:chgData name="Zhizhin Alexander" userId="1744cf81-5033-49c6-ac65-db2cb706729e" providerId="ADAL" clId="{A6CB4C83-2B68-4D60-AF19-46827A504C6B}" dt="2022-01-25T10:35:17.871" v="525" actId="478"/>
          <ac:spMkLst>
            <pc:docMk/>
            <pc:sldMk cId="464122120" sldId="329"/>
            <ac:spMk id="97" creationId="{10206807-2652-4D9D-A03D-A4614E59A59E}"/>
          </ac:spMkLst>
        </pc:spChg>
        <pc:spChg chg="mod">
          <ac:chgData name="Zhizhin Alexander" userId="1744cf81-5033-49c6-ac65-db2cb706729e" providerId="ADAL" clId="{A6CB4C83-2B68-4D60-AF19-46827A504C6B}" dt="2022-01-25T10:32:36.404" v="462" actId="20577"/>
          <ac:spMkLst>
            <pc:docMk/>
            <pc:sldMk cId="464122120" sldId="329"/>
            <ac:spMk id="102" creationId="{C3E48DD3-D6A4-4DEB-802F-E0199857A08A}"/>
          </ac:spMkLst>
        </pc:spChg>
        <pc:spChg chg="add mod">
          <ac:chgData name="Zhizhin Alexander" userId="1744cf81-5033-49c6-ac65-db2cb706729e" providerId="ADAL" clId="{A6CB4C83-2B68-4D60-AF19-46827A504C6B}" dt="2022-01-25T11:14:25.365" v="1610" actId="14100"/>
          <ac:spMkLst>
            <pc:docMk/>
            <pc:sldMk cId="464122120" sldId="329"/>
            <ac:spMk id="114" creationId="{EC19ADE4-9514-4CAC-AE8C-6B74FFC48127}"/>
          </ac:spMkLst>
        </pc:spChg>
        <pc:spChg chg="add mod">
          <ac:chgData name="Zhizhin Alexander" userId="1744cf81-5033-49c6-ac65-db2cb706729e" providerId="ADAL" clId="{A6CB4C83-2B68-4D60-AF19-46827A504C6B}" dt="2022-01-25T11:25:13.958" v="1796" actId="20577"/>
          <ac:spMkLst>
            <pc:docMk/>
            <pc:sldMk cId="464122120" sldId="329"/>
            <ac:spMk id="118" creationId="{DA4194C4-8624-49B8-B0F7-934708C2C803}"/>
          </ac:spMkLst>
        </pc:spChg>
        <pc:spChg chg="del mod">
          <ac:chgData name="Zhizhin Alexander" userId="1744cf81-5033-49c6-ac65-db2cb706729e" providerId="ADAL" clId="{A6CB4C83-2B68-4D60-AF19-46827A504C6B}" dt="2022-01-25T10:34:36.773" v="493" actId="478"/>
          <ac:spMkLst>
            <pc:docMk/>
            <pc:sldMk cId="464122120" sldId="329"/>
            <ac:spMk id="129" creationId="{7D3F2F9A-807E-4DD2-9330-4518072D33FE}"/>
          </ac:spMkLst>
        </pc:spChg>
        <pc:spChg chg="add mod">
          <ac:chgData name="Zhizhin Alexander" userId="1744cf81-5033-49c6-ac65-db2cb706729e" providerId="ADAL" clId="{A6CB4C83-2B68-4D60-AF19-46827A504C6B}" dt="2022-01-25T11:22:23.005" v="1649" actId="1076"/>
          <ac:spMkLst>
            <pc:docMk/>
            <pc:sldMk cId="464122120" sldId="329"/>
            <ac:spMk id="136" creationId="{1665FE14-D47E-4644-8EA5-46CB4EA56DD8}"/>
          </ac:spMkLst>
        </pc:spChg>
        <pc:spChg chg="add mod">
          <ac:chgData name="Zhizhin Alexander" userId="1744cf81-5033-49c6-ac65-db2cb706729e" providerId="ADAL" clId="{A6CB4C83-2B68-4D60-AF19-46827A504C6B}" dt="2022-01-25T11:11:39.935" v="1562" actId="1076"/>
          <ac:spMkLst>
            <pc:docMk/>
            <pc:sldMk cId="464122120" sldId="329"/>
            <ac:spMk id="138" creationId="{5391BD8B-C838-4C92-9F41-769B50A47715}"/>
          </ac:spMkLst>
        </pc:spChg>
        <pc:spChg chg="add mod">
          <ac:chgData name="Zhizhin Alexander" userId="1744cf81-5033-49c6-ac65-db2cb706729e" providerId="ADAL" clId="{A6CB4C83-2B68-4D60-AF19-46827A504C6B}" dt="2022-01-25T11:12:37.966" v="1591" actId="1076"/>
          <ac:spMkLst>
            <pc:docMk/>
            <pc:sldMk cId="464122120" sldId="329"/>
            <ac:spMk id="139" creationId="{23208EDA-EEC9-4E38-81A8-19E59973DAE3}"/>
          </ac:spMkLst>
        </pc:spChg>
        <pc:spChg chg="add mod">
          <ac:chgData name="Zhizhin Alexander" userId="1744cf81-5033-49c6-ac65-db2cb706729e" providerId="ADAL" clId="{A6CB4C83-2B68-4D60-AF19-46827A504C6B}" dt="2022-01-25T11:12:47.181" v="1594" actId="20577"/>
          <ac:spMkLst>
            <pc:docMk/>
            <pc:sldMk cId="464122120" sldId="329"/>
            <ac:spMk id="140" creationId="{E3F3503C-F113-4594-9BCF-57D0F01F90BA}"/>
          </ac:spMkLst>
        </pc:spChg>
        <pc:spChg chg="add mod">
          <ac:chgData name="Zhizhin Alexander" userId="1744cf81-5033-49c6-ac65-db2cb706729e" providerId="ADAL" clId="{A6CB4C83-2B68-4D60-AF19-46827A504C6B}" dt="2022-01-25T11:12:56.573" v="1597" actId="20577"/>
          <ac:spMkLst>
            <pc:docMk/>
            <pc:sldMk cId="464122120" sldId="329"/>
            <ac:spMk id="141" creationId="{DEBC6EE7-85D3-432A-8800-AF514104B63D}"/>
          </ac:spMkLst>
        </pc:spChg>
        <pc:spChg chg="add mod">
          <ac:chgData name="Zhizhin Alexander" userId="1744cf81-5033-49c6-ac65-db2cb706729e" providerId="ADAL" clId="{A6CB4C83-2B68-4D60-AF19-46827A504C6B}" dt="2022-01-25T11:13:07.426" v="1600" actId="20577"/>
          <ac:spMkLst>
            <pc:docMk/>
            <pc:sldMk cId="464122120" sldId="329"/>
            <ac:spMk id="142" creationId="{5B276BB2-2EA8-4E8C-B49F-4D229AF482AC}"/>
          </ac:spMkLst>
        </pc:spChg>
        <pc:spChg chg="add mod">
          <ac:chgData name="Zhizhin Alexander" userId="1744cf81-5033-49c6-ac65-db2cb706729e" providerId="ADAL" clId="{A6CB4C83-2B68-4D60-AF19-46827A504C6B}" dt="2022-01-25T11:14:28.484" v="1611" actId="1076"/>
          <ac:spMkLst>
            <pc:docMk/>
            <pc:sldMk cId="464122120" sldId="329"/>
            <ac:spMk id="143" creationId="{AE7F2F2A-7BD8-43D7-BF34-43A0466BF2A5}"/>
          </ac:spMkLst>
        </pc:spChg>
        <pc:spChg chg="add mod">
          <ac:chgData name="Zhizhin Alexander" userId="1744cf81-5033-49c6-ac65-db2cb706729e" providerId="ADAL" clId="{A6CB4C83-2B68-4D60-AF19-46827A504C6B}" dt="2022-01-25T11:24:47.394" v="1791" actId="20577"/>
          <ac:spMkLst>
            <pc:docMk/>
            <pc:sldMk cId="464122120" sldId="329"/>
            <ac:spMk id="167" creationId="{5F5C22C0-D1AD-4655-A28D-017ADFEDF6AE}"/>
          </ac:spMkLst>
        </pc:spChg>
        <pc:spChg chg="del mod">
          <ac:chgData name="Zhizhin Alexander" userId="1744cf81-5033-49c6-ac65-db2cb706729e" providerId="ADAL" clId="{A6CB4C83-2B68-4D60-AF19-46827A504C6B}" dt="2022-01-24T19:12:50.191" v="37" actId="478"/>
          <ac:spMkLst>
            <pc:docMk/>
            <pc:sldMk cId="464122120" sldId="329"/>
            <ac:spMk id="187" creationId="{61A60CD2-908D-41E1-A5EB-727B7E7B59D6}"/>
          </ac:spMkLst>
        </pc:spChg>
        <pc:cxnChg chg="add mod">
          <ac:chgData name="Zhizhin Alexander" userId="1744cf81-5033-49c6-ac65-db2cb706729e" providerId="ADAL" clId="{A6CB4C83-2B68-4D60-AF19-46827A504C6B}" dt="2022-01-25T10:33:38.509" v="482" actId="14100"/>
          <ac:cxnSpMkLst>
            <pc:docMk/>
            <pc:sldMk cId="464122120" sldId="329"/>
            <ac:cxnSpMk id="51" creationId="{F9900C2B-3E37-4091-9650-7E9C04A0ED97}"/>
          </ac:cxnSpMkLst>
        </pc:cxnChg>
        <pc:cxnChg chg="add mod">
          <ac:chgData name="Zhizhin Alexander" userId="1744cf81-5033-49c6-ac65-db2cb706729e" providerId="ADAL" clId="{A6CB4C83-2B68-4D60-AF19-46827A504C6B}" dt="2022-01-25T10:34:04.109" v="488" actId="33986"/>
          <ac:cxnSpMkLst>
            <pc:docMk/>
            <pc:sldMk cId="464122120" sldId="329"/>
            <ac:cxnSpMk id="54" creationId="{D10D92B0-2A29-4569-8AB5-695FC82CCB91}"/>
          </ac:cxnSpMkLst>
        </pc:cxnChg>
        <pc:cxnChg chg="add del mod">
          <ac:chgData name="Zhizhin Alexander" userId="1744cf81-5033-49c6-ac65-db2cb706729e" providerId="ADAL" clId="{A6CB4C83-2B68-4D60-AF19-46827A504C6B}" dt="2022-01-25T10:35:19.921" v="526" actId="478"/>
          <ac:cxnSpMkLst>
            <pc:docMk/>
            <pc:sldMk cId="464122120" sldId="329"/>
            <ac:cxnSpMk id="56" creationId="{0DA41930-D60F-4E26-837D-AD8AA725079A}"/>
          </ac:cxnSpMkLst>
        </pc:cxnChg>
        <pc:cxnChg chg="del mod">
          <ac:chgData name="Zhizhin Alexander" userId="1744cf81-5033-49c6-ac65-db2cb706729e" providerId="ADAL" clId="{A6CB4C83-2B68-4D60-AF19-46827A504C6B}" dt="2022-01-25T10:31:46.240" v="409" actId="478"/>
          <ac:cxnSpMkLst>
            <pc:docMk/>
            <pc:sldMk cId="464122120" sldId="329"/>
            <ac:cxnSpMk id="68" creationId="{AA38552C-F7EC-4700-91D0-C1AA85C6000B}"/>
          </ac:cxnSpMkLst>
        </pc:cxnChg>
        <pc:cxnChg chg="add mod">
          <ac:chgData name="Zhizhin Alexander" userId="1744cf81-5033-49c6-ac65-db2cb706729e" providerId="ADAL" clId="{A6CB4C83-2B68-4D60-AF19-46827A504C6B}" dt="2022-01-25T10:36:11.361" v="561" actId="1076"/>
          <ac:cxnSpMkLst>
            <pc:docMk/>
            <pc:sldMk cId="464122120" sldId="329"/>
            <ac:cxnSpMk id="69" creationId="{DCD581A2-7D53-48BD-B49B-E0EBCEB11FDA}"/>
          </ac:cxnSpMkLst>
        </pc:cxnChg>
        <pc:cxnChg chg="add mod">
          <ac:chgData name="Zhizhin Alexander" userId="1744cf81-5033-49c6-ac65-db2cb706729e" providerId="ADAL" clId="{A6CB4C83-2B68-4D60-AF19-46827A504C6B}" dt="2022-01-25T10:37:02.593" v="618" actId="1076"/>
          <ac:cxnSpMkLst>
            <pc:docMk/>
            <pc:sldMk cId="464122120" sldId="329"/>
            <ac:cxnSpMk id="72" creationId="{CF39E173-078D-417D-8018-90244370E93A}"/>
          </ac:cxnSpMkLst>
        </pc:cxnChg>
        <pc:cxnChg chg="add mod">
          <ac:chgData name="Zhizhin Alexander" userId="1744cf81-5033-49c6-ac65-db2cb706729e" providerId="ADAL" clId="{A6CB4C83-2B68-4D60-AF19-46827A504C6B}" dt="2022-01-25T10:37:02.593" v="618" actId="1076"/>
          <ac:cxnSpMkLst>
            <pc:docMk/>
            <pc:sldMk cId="464122120" sldId="329"/>
            <ac:cxnSpMk id="76" creationId="{57692809-D264-49DB-BC72-FEE72A9FD9DF}"/>
          </ac:cxnSpMkLst>
        </pc:cxnChg>
        <pc:cxnChg chg="add mod">
          <ac:chgData name="Zhizhin Alexander" userId="1744cf81-5033-49c6-ac65-db2cb706729e" providerId="ADAL" clId="{A6CB4C83-2B68-4D60-AF19-46827A504C6B}" dt="2022-01-25T10:41:07.675" v="931" actId="14100"/>
          <ac:cxnSpMkLst>
            <pc:docMk/>
            <pc:sldMk cId="464122120" sldId="329"/>
            <ac:cxnSpMk id="78" creationId="{ED56E048-7DC7-4991-9875-6E4EA020BD14}"/>
          </ac:cxnSpMkLst>
        </pc:cxnChg>
        <pc:cxnChg chg="add mod">
          <ac:chgData name="Zhizhin Alexander" userId="1744cf81-5033-49c6-ac65-db2cb706729e" providerId="ADAL" clId="{A6CB4C83-2B68-4D60-AF19-46827A504C6B}" dt="2022-01-25T10:41:02.923" v="930" actId="1076"/>
          <ac:cxnSpMkLst>
            <pc:docMk/>
            <pc:sldMk cId="464122120" sldId="329"/>
            <ac:cxnSpMk id="81" creationId="{5567D0CD-52D9-4DAA-BBFC-48DAEB2504E3}"/>
          </ac:cxnSpMkLst>
        </pc:cxnChg>
        <pc:cxnChg chg="add del mod">
          <ac:chgData name="Zhizhin Alexander" userId="1744cf81-5033-49c6-ac65-db2cb706729e" providerId="ADAL" clId="{A6CB4C83-2B68-4D60-AF19-46827A504C6B}" dt="2022-01-25T10:41:27.827" v="934" actId="478"/>
          <ac:cxnSpMkLst>
            <pc:docMk/>
            <pc:sldMk cId="464122120" sldId="329"/>
            <ac:cxnSpMk id="84" creationId="{31F73634-12E8-48E5-B062-45A8072FADEF}"/>
          </ac:cxnSpMkLst>
        </pc:cxnChg>
        <pc:cxnChg chg="add mod">
          <ac:chgData name="Zhizhin Alexander" userId="1744cf81-5033-49c6-ac65-db2cb706729e" providerId="ADAL" clId="{A6CB4C83-2B68-4D60-AF19-46827A504C6B}" dt="2022-01-25T10:43:19.505" v="988" actId="14100"/>
          <ac:cxnSpMkLst>
            <pc:docMk/>
            <pc:sldMk cId="464122120" sldId="329"/>
            <ac:cxnSpMk id="85" creationId="{C8A751A1-419E-4143-ACE5-31A08E7C9553}"/>
          </ac:cxnSpMkLst>
        </pc:cxnChg>
        <pc:cxnChg chg="del mod">
          <ac:chgData name="Zhizhin Alexander" userId="1744cf81-5033-49c6-ac65-db2cb706729e" providerId="ADAL" clId="{A6CB4C83-2B68-4D60-AF19-46827A504C6B}" dt="2022-01-24T19:12:54.312" v="39" actId="478"/>
          <ac:cxnSpMkLst>
            <pc:docMk/>
            <pc:sldMk cId="464122120" sldId="329"/>
            <ac:cxnSpMk id="85" creationId="{ECF14F01-2C11-4FA8-8B05-CA4260F230DE}"/>
          </ac:cxnSpMkLst>
        </pc:cxnChg>
        <pc:cxnChg chg="add mod">
          <ac:chgData name="Zhizhin Alexander" userId="1744cf81-5033-49c6-ac65-db2cb706729e" providerId="ADAL" clId="{A6CB4C83-2B68-4D60-AF19-46827A504C6B}" dt="2022-01-25T11:22:18.225" v="1648" actId="1076"/>
          <ac:cxnSpMkLst>
            <pc:docMk/>
            <pc:sldMk cId="464122120" sldId="329"/>
            <ac:cxnSpMk id="88" creationId="{D40529A9-DBA3-4284-9069-4F946ACD3995}"/>
          </ac:cxnSpMkLst>
        </pc:cxnChg>
        <pc:cxnChg chg="del mod">
          <ac:chgData name="Zhizhin Alexander" userId="1744cf81-5033-49c6-ac65-db2cb706729e" providerId="ADAL" clId="{A6CB4C83-2B68-4D60-AF19-46827A504C6B}" dt="2022-01-25T10:28:27.307" v="298" actId="478"/>
          <ac:cxnSpMkLst>
            <pc:docMk/>
            <pc:sldMk cId="464122120" sldId="329"/>
            <ac:cxnSpMk id="92" creationId="{3729253D-BD08-4DA8-ACA3-A59AD3E75BB3}"/>
          </ac:cxnSpMkLst>
        </pc:cxnChg>
        <pc:cxnChg chg="add del mod">
          <ac:chgData name="Zhizhin Alexander" userId="1744cf81-5033-49c6-ac65-db2cb706729e" providerId="ADAL" clId="{A6CB4C83-2B68-4D60-AF19-46827A504C6B}" dt="2022-01-25T11:02:53.247" v="1262" actId="1076"/>
          <ac:cxnSpMkLst>
            <pc:docMk/>
            <pc:sldMk cId="464122120" sldId="329"/>
            <ac:cxnSpMk id="98" creationId="{7EB70380-AFD1-4A87-9D07-A3B4383DFCF6}"/>
          </ac:cxnSpMkLst>
        </pc:cxnChg>
        <pc:cxnChg chg="mod">
          <ac:chgData name="Zhizhin Alexander" userId="1744cf81-5033-49c6-ac65-db2cb706729e" providerId="ADAL" clId="{A6CB4C83-2B68-4D60-AF19-46827A504C6B}" dt="2022-01-25T11:02:53.247" v="1262" actId="1076"/>
          <ac:cxnSpMkLst>
            <pc:docMk/>
            <pc:sldMk cId="464122120" sldId="329"/>
            <ac:cxnSpMk id="99" creationId="{4DDC65B7-4E7C-448F-9FF5-8CD6B9EAF5F3}"/>
          </ac:cxnSpMkLst>
        </pc:cxnChg>
        <pc:cxnChg chg="add mod">
          <ac:chgData name="Zhizhin Alexander" userId="1744cf81-5033-49c6-ac65-db2cb706729e" providerId="ADAL" clId="{A6CB4C83-2B68-4D60-AF19-46827A504C6B}" dt="2022-01-25T11:22:18.225" v="1648" actId="1076"/>
          <ac:cxnSpMkLst>
            <pc:docMk/>
            <pc:sldMk cId="464122120" sldId="329"/>
            <ac:cxnSpMk id="119" creationId="{7B52A274-E4C6-4BFD-9C34-17713AE92992}"/>
          </ac:cxnSpMkLst>
        </pc:cxnChg>
        <pc:cxnChg chg="add mod">
          <ac:chgData name="Zhizhin Alexander" userId="1744cf81-5033-49c6-ac65-db2cb706729e" providerId="ADAL" clId="{A6CB4C83-2B68-4D60-AF19-46827A504C6B}" dt="2022-01-25T11:25:32.186" v="1798" actId="14100"/>
          <ac:cxnSpMkLst>
            <pc:docMk/>
            <pc:sldMk cId="464122120" sldId="329"/>
            <ac:cxnSpMk id="126" creationId="{3A0A9DEF-97BD-4776-85AA-995E72B89A35}"/>
          </ac:cxnSpMkLst>
        </pc:cxnChg>
        <pc:cxnChg chg="mod">
          <ac:chgData name="Zhizhin Alexander" userId="1744cf81-5033-49c6-ac65-db2cb706729e" providerId="ADAL" clId="{A6CB4C83-2B68-4D60-AF19-46827A504C6B}" dt="2022-01-25T11:02:53.247" v="1262" actId="1076"/>
          <ac:cxnSpMkLst>
            <pc:docMk/>
            <pc:sldMk cId="464122120" sldId="329"/>
            <ac:cxnSpMk id="127" creationId="{E652EC2D-0EAF-4AD8-9C68-F5EB5598FD62}"/>
          </ac:cxnSpMkLst>
        </pc:cxnChg>
        <pc:cxnChg chg="add mod">
          <ac:chgData name="Zhizhin Alexander" userId="1744cf81-5033-49c6-ac65-db2cb706729e" providerId="ADAL" clId="{A6CB4C83-2B68-4D60-AF19-46827A504C6B}" dt="2022-01-25T11:25:20.002" v="1797" actId="14100"/>
          <ac:cxnSpMkLst>
            <pc:docMk/>
            <pc:sldMk cId="464122120" sldId="329"/>
            <ac:cxnSpMk id="130" creationId="{DE1E0FE0-A600-4060-8007-5FE3BFBC8801}"/>
          </ac:cxnSpMkLst>
        </pc:cxnChg>
        <pc:cxnChg chg="mod">
          <ac:chgData name="Zhizhin Alexander" userId="1744cf81-5033-49c6-ac65-db2cb706729e" providerId="ADAL" clId="{A6CB4C83-2B68-4D60-AF19-46827A504C6B}" dt="2022-01-25T10:35:48.766" v="557" actId="1076"/>
          <ac:cxnSpMkLst>
            <pc:docMk/>
            <pc:sldMk cId="464122120" sldId="329"/>
            <ac:cxnSpMk id="135" creationId="{874A6615-5334-428F-A657-F39D76FC8C7F}"/>
          </ac:cxnSpMkLst>
        </pc:cxnChg>
        <pc:cxnChg chg="add mod">
          <ac:chgData name="Zhizhin Alexander" userId="1744cf81-5033-49c6-ac65-db2cb706729e" providerId="ADAL" clId="{A6CB4C83-2B68-4D60-AF19-46827A504C6B}" dt="2022-01-25T11:14:32.165" v="1612" actId="14100"/>
          <ac:cxnSpMkLst>
            <pc:docMk/>
            <pc:sldMk cId="464122120" sldId="329"/>
            <ac:cxnSpMk id="144" creationId="{5C180159-56D1-4236-86DD-9D88790B8431}"/>
          </ac:cxnSpMkLst>
        </pc:cxnChg>
        <pc:cxnChg chg="del mod">
          <ac:chgData name="Zhizhin Alexander" userId="1744cf81-5033-49c6-ac65-db2cb706729e" providerId="ADAL" clId="{A6CB4C83-2B68-4D60-AF19-46827A504C6B}" dt="2022-01-25T10:28:20.705" v="295" actId="478"/>
          <ac:cxnSpMkLst>
            <pc:docMk/>
            <pc:sldMk cId="464122120" sldId="329"/>
            <ac:cxnSpMk id="165" creationId="{83B47698-905F-4837-93EF-B2795F557BD0}"/>
          </ac:cxnSpMkLst>
        </pc:cxnChg>
      </pc:sldChg>
      <pc:sldChg chg="addSp modSp add mod">
        <pc:chgData name="Zhizhin Alexander" userId="1744cf81-5033-49c6-ac65-db2cb706729e" providerId="ADAL" clId="{A6CB4C83-2B68-4D60-AF19-46827A504C6B}" dt="2022-01-25T11:39:07.104" v="2204" actId="1076"/>
        <pc:sldMkLst>
          <pc:docMk/>
          <pc:sldMk cId="877720960" sldId="330"/>
        </pc:sldMkLst>
        <pc:spChg chg="add mod">
          <ac:chgData name="Zhizhin Alexander" userId="1744cf81-5033-49c6-ac65-db2cb706729e" providerId="ADAL" clId="{A6CB4C83-2B68-4D60-AF19-46827A504C6B}" dt="2022-01-25T11:39:07.104" v="2204" actId="1076"/>
          <ac:spMkLst>
            <pc:docMk/>
            <pc:sldMk cId="877720960" sldId="330"/>
            <ac:spMk id="19" creationId="{92550530-3DFE-4C20-A010-6CCA7C1E6B44}"/>
          </ac:spMkLst>
        </pc:spChg>
        <pc:spChg chg="mod">
          <ac:chgData name="Zhizhin Alexander" userId="1744cf81-5033-49c6-ac65-db2cb706729e" providerId="ADAL" clId="{A6CB4C83-2B68-4D60-AF19-46827A504C6B}" dt="2022-01-25T11:26:50.260" v="1803" actId="1076"/>
          <ac:spMkLst>
            <pc:docMk/>
            <pc:sldMk cId="877720960" sldId="330"/>
            <ac:spMk id="62" creationId="{EC9920E4-72D6-456D-8E58-A5C4207CAA04}"/>
          </ac:spMkLst>
        </pc:spChg>
        <pc:spChg chg="mod">
          <ac:chgData name="Zhizhin Alexander" userId="1744cf81-5033-49c6-ac65-db2cb706729e" providerId="ADAL" clId="{A6CB4C83-2B68-4D60-AF19-46827A504C6B}" dt="2022-01-25T11:19:15.234" v="1634" actId="13926"/>
          <ac:spMkLst>
            <pc:docMk/>
            <pc:sldMk cId="877720960" sldId="330"/>
            <ac:spMk id="83" creationId="{00000000-0000-0000-0000-000000000000}"/>
          </ac:spMkLst>
        </pc:spChg>
      </pc:sldChg>
    </pc:docChg>
  </pc:docChgLst>
  <pc:docChgLst>
    <pc:chgData name="Zhizhin Alexander" userId="1744cf81-5033-49c6-ac65-db2cb706729e" providerId="ADAL" clId="{E0CF3A5F-E15C-4BD1-8C1A-739181ECE2A6}"/>
    <pc:docChg chg="custSel modSld">
      <pc:chgData name="Zhizhin Alexander" userId="1744cf81-5033-49c6-ac65-db2cb706729e" providerId="ADAL" clId="{E0CF3A5F-E15C-4BD1-8C1A-739181ECE2A6}" dt="2022-01-27T06:09:43.130" v="190" actId="2085"/>
      <pc:docMkLst>
        <pc:docMk/>
      </pc:docMkLst>
      <pc:sldChg chg="delSp modSp mod">
        <pc:chgData name="Zhizhin Alexander" userId="1744cf81-5033-49c6-ac65-db2cb706729e" providerId="ADAL" clId="{E0CF3A5F-E15C-4BD1-8C1A-739181ECE2A6}" dt="2022-01-27T05:39:29.959" v="47" actId="1076"/>
        <pc:sldMkLst>
          <pc:docMk/>
          <pc:sldMk cId="464122120" sldId="329"/>
        </pc:sldMkLst>
        <pc:spChg chg="del">
          <ac:chgData name="Zhizhin Alexander" userId="1744cf81-5033-49c6-ac65-db2cb706729e" providerId="ADAL" clId="{E0CF3A5F-E15C-4BD1-8C1A-739181ECE2A6}" dt="2022-01-27T05:35:09.400" v="4" actId="478"/>
          <ac:spMkLst>
            <pc:docMk/>
            <pc:sldMk cId="464122120" sldId="329"/>
            <ac:spMk id="31" creationId="{D018CECF-1644-4040-AB94-BE805C8E20A9}"/>
          </ac:spMkLst>
        </pc:spChg>
        <pc:spChg chg="del">
          <ac:chgData name="Zhizhin Alexander" userId="1744cf81-5033-49c6-ac65-db2cb706729e" providerId="ADAL" clId="{E0CF3A5F-E15C-4BD1-8C1A-739181ECE2A6}" dt="2022-01-27T05:34:59.711" v="0" actId="478"/>
          <ac:spMkLst>
            <pc:docMk/>
            <pc:sldMk cId="464122120" sldId="329"/>
            <ac:spMk id="44" creationId="{A9432E73-3FB3-42C6-AB41-BB201923E814}"/>
          </ac:spMkLst>
        </pc:spChg>
        <pc:spChg chg="del mod">
          <ac:chgData name="Zhizhin Alexander" userId="1744cf81-5033-49c6-ac65-db2cb706729e" providerId="ADAL" clId="{E0CF3A5F-E15C-4BD1-8C1A-739181ECE2A6}" dt="2022-01-27T05:35:05.351" v="3" actId="478"/>
          <ac:spMkLst>
            <pc:docMk/>
            <pc:sldMk cId="464122120" sldId="329"/>
            <ac:spMk id="50" creationId="{C487161D-F4F1-4943-8992-B8120488246B}"/>
          </ac:spMkLst>
        </pc:spChg>
        <pc:spChg chg="mod">
          <ac:chgData name="Zhizhin Alexander" userId="1744cf81-5033-49c6-ac65-db2cb706729e" providerId="ADAL" clId="{E0CF3A5F-E15C-4BD1-8C1A-739181ECE2A6}" dt="2022-01-27T05:38:29.983" v="38" actId="1076"/>
          <ac:spMkLst>
            <pc:docMk/>
            <pc:sldMk cId="464122120" sldId="329"/>
            <ac:spMk id="61" creationId="{C749A7D1-BBF9-4021-92FC-6A9648EA195D}"/>
          </ac:spMkLst>
        </pc:spChg>
        <pc:spChg chg="mod">
          <ac:chgData name="Zhizhin Alexander" userId="1744cf81-5033-49c6-ac65-db2cb706729e" providerId="ADAL" clId="{E0CF3A5F-E15C-4BD1-8C1A-739181ECE2A6}" dt="2022-01-27T05:38:29.983" v="38" actId="1076"/>
          <ac:spMkLst>
            <pc:docMk/>
            <pc:sldMk cId="464122120" sldId="329"/>
            <ac:spMk id="62" creationId="{EC9920E4-72D6-456D-8E58-A5C4207CAA04}"/>
          </ac:spMkLst>
        </pc:spChg>
        <pc:spChg chg="mod">
          <ac:chgData name="Zhizhin Alexander" userId="1744cf81-5033-49c6-ac65-db2cb706729e" providerId="ADAL" clId="{E0CF3A5F-E15C-4BD1-8C1A-739181ECE2A6}" dt="2022-01-27T05:38:29.983" v="38" actId="1076"/>
          <ac:spMkLst>
            <pc:docMk/>
            <pc:sldMk cId="464122120" sldId="329"/>
            <ac:spMk id="67" creationId="{63341302-A41F-41C5-9533-C4B07C5BC48A}"/>
          </ac:spMkLst>
        </pc:spChg>
        <pc:spChg chg="mod">
          <ac:chgData name="Zhizhin Alexander" userId="1744cf81-5033-49c6-ac65-db2cb706729e" providerId="ADAL" clId="{E0CF3A5F-E15C-4BD1-8C1A-739181ECE2A6}" dt="2022-01-27T05:38:29.983" v="38" actId="1076"/>
          <ac:spMkLst>
            <pc:docMk/>
            <pc:sldMk cId="464122120" sldId="329"/>
            <ac:spMk id="73" creationId="{775D8ADD-B906-4BA8-AA29-33AD611FACC5}"/>
          </ac:spMkLst>
        </pc:spChg>
        <pc:spChg chg="mod">
          <ac:chgData name="Zhizhin Alexander" userId="1744cf81-5033-49c6-ac65-db2cb706729e" providerId="ADAL" clId="{E0CF3A5F-E15C-4BD1-8C1A-739181ECE2A6}" dt="2022-01-27T05:38:29.983" v="38" actId="1076"/>
          <ac:spMkLst>
            <pc:docMk/>
            <pc:sldMk cId="464122120" sldId="329"/>
            <ac:spMk id="74" creationId="{C179264C-A347-4BDF-8D11-1CCF50E3066A}"/>
          </ac:spMkLst>
        </pc:spChg>
        <pc:spChg chg="mod">
          <ac:chgData name="Zhizhin Alexander" userId="1744cf81-5033-49c6-ac65-db2cb706729e" providerId="ADAL" clId="{E0CF3A5F-E15C-4BD1-8C1A-739181ECE2A6}" dt="2022-01-27T05:38:29.983" v="38" actId="1076"/>
          <ac:spMkLst>
            <pc:docMk/>
            <pc:sldMk cId="464122120" sldId="329"/>
            <ac:spMk id="75" creationId="{71C0C27E-F9C6-4924-A043-B3D09183BEFF}"/>
          </ac:spMkLst>
        </pc:spChg>
        <pc:spChg chg="mod">
          <ac:chgData name="Zhizhin Alexander" userId="1744cf81-5033-49c6-ac65-db2cb706729e" providerId="ADAL" clId="{E0CF3A5F-E15C-4BD1-8C1A-739181ECE2A6}" dt="2022-01-27T05:38:29.983" v="38" actId="1076"/>
          <ac:spMkLst>
            <pc:docMk/>
            <pc:sldMk cId="464122120" sldId="329"/>
            <ac:spMk id="79" creationId="{404859D6-CB3E-41F7-ACDC-5D9A5EBD1F19}"/>
          </ac:spMkLst>
        </pc:spChg>
        <pc:spChg chg="mod">
          <ac:chgData name="Zhizhin Alexander" userId="1744cf81-5033-49c6-ac65-db2cb706729e" providerId="ADAL" clId="{E0CF3A5F-E15C-4BD1-8C1A-739181ECE2A6}" dt="2022-01-27T05:38:29.983" v="38" actId="1076"/>
          <ac:spMkLst>
            <pc:docMk/>
            <pc:sldMk cId="464122120" sldId="329"/>
            <ac:spMk id="80" creationId="{7EB96FD8-9E1B-44EF-A43A-2FE13FA3A3BA}"/>
          </ac:spMkLst>
        </pc:spChg>
        <pc:spChg chg="mod">
          <ac:chgData name="Zhizhin Alexander" userId="1744cf81-5033-49c6-ac65-db2cb706729e" providerId="ADAL" clId="{E0CF3A5F-E15C-4BD1-8C1A-739181ECE2A6}" dt="2022-01-27T05:39:29.959" v="47" actId="1076"/>
          <ac:spMkLst>
            <pc:docMk/>
            <pc:sldMk cId="464122120" sldId="329"/>
            <ac:spMk id="83" creationId="{00000000-0000-0000-0000-000000000000}"/>
          </ac:spMkLst>
        </pc:spChg>
        <pc:spChg chg="mod">
          <ac:chgData name="Zhizhin Alexander" userId="1744cf81-5033-49c6-ac65-db2cb706729e" providerId="ADAL" clId="{E0CF3A5F-E15C-4BD1-8C1A-739181ECE2A6}" dt="2022-01-27T05:38:29.983" v="38" actId="1076"/>
          <ac:spMkLst>
            <pc:docMk/>
            <pc:sldMk cId="464122120" sldId="329"/>
            <ac:spMk id="86" creationId="{C21BFA7A-402C-4F79-82F3-2F44F02B4874}"/>
          </ac:spMkLst>
        </pc:spChg>
        <pc:spChg chg="mod">
          <ac:chgData name="Zhizhin Alexander" userId="1744cf81-5033-49c6-ac65-db2cb706729e" providerId="ADAL" clId="{E0CF3A5F-E15C-4BD1-8C1A-739181ECE2A6}" dt="2022-01-27T05:38:29.983" v="38" actId="1076"/>
          <ac:spMkLst>
            <pc:docMk/>
            <pc:sldMk cId="464122120" sldId="329"/>
            <ac:spMk id="87" creationId="{7B23EB0A-A621-4F77-826B-CD74975EC56C}"/>
          </ac:spMkLst>
        </pc:spChg>
        <pc:spChg chg="mod">
          <ac:chgData name="Zhizhin Alexander" userId="1744cf81-5033-49c6-ac65-db2cb706729e" providerId="ADAL" clId="{E0CF3A5F-E15C-4BD1-8C1A-739181ECE2A6}" dt="2022-01-27T05:38:29.983" v="38" actId="1076"/>
          <ac:spMkLst>
            <pc:docMk/>
            <pc:sldMk cId="464122120" sldId="329"/>
            <ac:spMk id="93" creationId="{D89E76D1-14CE-4CD1-9704-0A562030B07B}"/>
          </ac:spMkLst>
        </pc:spChg>
        <pc:spChg chg="mod">
          <ac:chgData name="Zhizhin Alexander" userId="1744cf81-5033-49c6-ac65-db2cb706729e" providerId="ADAL" clId="{E0CF3A5F-E15C-4BD1-8C1A-739181ECE2A6}" dt="2022-01-27T05:38:29.983" v="38" actId="1076"/>
          <ac:spMkLst>
            <pc:docMk/>
            <pc:sldMk cId="464122120" sldId="329"/>
            <ac:spMk id="96" creationId="{3CDB95CA-C522-4FAF-AAC5-9AD0365AC005}"/>
          </ac:spMkLst>
        </pc:spChg>
        <pc:spChg chg="del">
          <ac:chgData name="Zhizhin Alexander" userId="1744cf81-5033-49c6-ac65-db2cb706729e" providerId="ADAL" clId="{E0CF3A5F-E15C-4BD1-8C1A-739181ECE2A6}" dt="2022-01-27T05:35:12.184" v="5" actId="478"/>
          <ac:spMkLst>
            <pc:docMk/>
            <pc:sldMk cId="464122120" sldId="329"/>
            <ac:spMk id="102" creationId="{C3E48DD3-D6A4-4DEB-802F-E0199857A08A}"/>
          </ac:spMkLst>
        </pc:spChg>
        <pc:spChg chg="mod">
          <ac:chgData name="Zhizhin Alexander" userId="1744cf81-5033-49c6-ac65-db2cb706729e" providerId="ADAL" clId="{E0CF3A5F-E15C-4BD1-8C1A-739181ECE2A6}" dt="2022-01-27T05:38:29.983" v="38" actId="1076"/>
          <ac:spMkLst>
            <pc:docMk/>
            <pc:sldMk cId="464122120" sldId="329"/>
            <ac:spMk id="114" creationId="{EC19ADE4-9514-4CAC-AE8C-6B74FFC48127}"/>
          </ac:spMkLst>
        </pc:spChg>
        <pc:spChg chg="mod">
          <ac:chgData name="Zhizhin Alexander" userId="1744cf81-5033-49c6-ac65-db2cb706729e" providerId="ADAL" clId="{E0CF3A5F-E15C-4BD1-8C1A-739181ECE2A6}" dt="2022-01-27T05:38:29.983" v="38" actId="1076"/>
          <ac:spMkLst>
            <pc:docMk/>
            <pc:sldMk cId="464122120" sldId="329"/>
            <ac:spMk id="118" creationId="{DA4194C4-8624-49B8-B0F7-934708C2C803}"/>
          </ac:spMkLst>
        </pc:spChg>
        <pc:spChg chg="mod">
          <ac:chgData name="Zhizhin Alexander" userId="1744cf81-5033-49c6-ac65-db2cb706729e" providerId="ADAL" clId="{E0CF3A5F-E15C-4BD1-8C1A-739181ECE2A6}" dt="2022-01-27T05:38:29.983" v="38" actId="1076"/>
          <ac:spMkLst>
            <pc:docMk/>
            <pc:sldMk cId="464122120" sldId="329"/>
            <ac:spMk id="136" creationId="{1665FE14-D47E-4644-8EA5-46CB4EA56DD8}"/>
          </ac:spMkLst>
        </pc:spChg>
        <pc:spChg chg="mod">
          <ac:chgData name="Zhizhin Alexander" userId="1744cf81-5033-49c6-ac65-db2cb706729e" providerId="ADAL" clId="{E0CF3A5F-E15C-4BD1-8C1A-739181ECE2A6}" dt="2022-01-27T05:39:01.597" v="42" actId="1076"/>
          <ac:spMkLst>
            <pc:docMk/>
            <pc:sldMk cId="464122120" sldId="329"/>
            <ac:spMk id="138" creationId="{5391BD8B-C838-4C92-9F41-769B50A47715}"/>
          </ac:spMkLst>
        </pc:spChg>
        <pc:spChg chg="mod">
          <ac:chgData name="Zhizhin Alexander" userId="1744cf81-5033-49c6-ac65-db2cb706729e" providerId="ADAL" clId="{E0CF3A5F-E15C-4BD1-8C1A-739181ECE2A6}" dt="2022-01-27T05:38:44.751" v="41" actId="1076"/>
          <ac:spMkLst>
            <pc:docMk/>
            <pc:sldMk cId="464122120" sldId="329"/>
            <ac:spMk id="140" creationId="{E3F3503C-F113-4594-9BCF-57D0F01F90BA}"/>
          </ac:spMkLst>
        </pc:spChg>
        <pc:spChg chg="mod">
          <ac:chgData name="Zhizhin Alexander" userId="1744cf81-5033-49c6-ac65-db2cb706729e" providerId="ADAL" clId="{E0CF3A5F-E15C-4BD1-8C1A-739181ECE2A6}" dt="2022-01-27T05:38:29.983" v="38" actId="1076"/>
          <ac:spMkLst>
            <pc:docMk/>
            <pc:sldMk cId="464122120" sldId="329"/>
            <ac:spMk id="143" creationId="{AE7F2F2A-7BD8-43D7-BF34-43A0466BF2A5}"/>
          </ac:spMkLst>
        </pc:spChg>
        <pc:spChg chg="mod">
          <ac:chgData name="Zhizhin Alexander" userId="1744cf81-5033-49c6-ac65-db2cb706729e" providerId="ADAL" clId="{E0CF3A5F-E15C-4BD1-8C1A-739181ECE2A6}" dt="2022-01-27T05:39:15.413" v="44" actId="113"/>
          <ac:spMkLst>
            <pc:docMk/>
            <pc:sldMk cId="464122120" sldId="329"/>
            <ac:spMk id="167" creationId="{5F5C22C0-D1AD-4655-A28D-017ADFEDF6AE}"/>
          </ac:spMkLst>
        </pc:spChg>
        <pc:cxnChg chg="del mod">
          <ac:chgData name="Zhizhin Alexander" userId="1744cf81-5033-49c6-ac65-db2cb706729e" providerId="ADAL" clId="{E0CF3A5F-E15C-4BD1-8C1A-739181ECE2A6}" dt="2022-01-27T05:35:01.530" v="1" actId="478"/>
          <ac:cxnSpMkLst>
            <pc:docMk/>
            <pc:sldMk cId="464122120" sldId="329"/>
            <ac:cxnSpMk id="51" creationId="{F9900C2B-3E37-4091-9650-7E9C04A0ED97}"/>
          </ac:cxnSpMkLst>
        </pc:cxnChg>
        <pc:cxnChg chg="del mod">
          <ac:chgData name="Zhizhin Alexander" userId="1744cf81-5033-49c6-ac65-db2cb706729e" providerId="ADAL" clId="{E0CF3A5F-E15C-4BD1-8C1A-739181ECE2A6}" dt="2022-01-27T05:35:25.649" v="8" actId="478"/>
          <ac:cxnSpMkLst>
            <pc:docMk/>
            <pc:sldMk cId="464122120" sldId="329"/>
            <ac:cxnSpMk id="54" creationId="{D10D92B0-2A29-4569-8AB5-695FC82CCB91}"/>
          </ac:cxnSpMkLst>
        </pc:cxnChg>
        <pc:cxnChg chg="mod">
          <ac:chgData name="Zhizhin Alexander" userId="1744cf81-5033-49c6-ac65-db2cb706729e" providerId="ADAL" clId="{E0CF3A5F-E15C-4BD1-8C1A-739181ECE2A6}" dt="2022-01-27T05:38:29.983" v="38" actId="1076"/>
          <ac:cxnSpMkLst>
            <pc:docMk/>
            <pc:sldMk cId="464122120" sldId="329"/>
            <ac:cxnSpMk id="69" creationId="{DCD581A2-7D53-48BD-B49B-E0EBCEB11FDA}"/>
          </ac:cxnSpMkLst>
        </pc:cxnChg>
        <pc:cxnChg chg="mod">
          <ac:chgData name="Zhizhin Alexander" userId="1744cf81-5033-49c6-ac65-db2cb706729e" providerId="ADAL" clId="{E0CF3A5F-E15C-4BD1-8C1A-739181ECE2A6}" dt="2022-01-27T05:38:29.983" v="38" actId="1076"/>
          <ac:cxnSpMkLst>
            <pc:docMk/>
            <pc:sldMk cId="464122120" sldId="329"/>
            <ac:cxnSpMk id="72" creationId="{CF39E173-078D-417D-8018-90244370E93A}"/>
          </ac:cxnSpMkLst>
        </pc:cxnChg>
        <pc:cxnChg chg="mod">
          <ac:chgData name="Zhizhin Alexander" userId="1744cf81-5033-49c6-ac65-db2cb706729e" providerId="ADAL" clId="{E0CF3A5F-E15C-4BD1-8C1A-739181ECE2A6}" dt="2022-01-27T05:38:29.983" v="38" actId="1076"/>
          <ac:cxnSpMkLst>
            <pc:docMk/>
            <pc:sldMk cId="464122120" sldId="329"/>
            <ac:cxnSpMk id="76" creationId="{57692809-D264-49DB-BC72-FEE72A9FD9DF}"/>
          </ac:cxnSpMkLst>
        </pc:cxnChg>
        <pc:cxnChg chg="mod">
          <ac:chgData name="Zhizhin Alexander" userId="1744cf81-5033-49c6-ac65-db2cb706729e" providerId="ADAL" clId="{E0CF3A5F-E15C-4BD1-8C1A-739181ECE2A6}" dt="2022-01-27T05:38:29.983" v="38" actId="1076"/>
          <ac:cxnSpMkLst>
            <pc:docMk/>
            <pc:sldMk cId="464122120" sldId="329"/>
            <ac:cxnSpMk id="78" creationId="{ED56E048-7DC7-4991-9875-6E4EA020BD14}"/>
          </ac:cxnSpMkLst>
        </pc:cxnChg>
        <pc:cxnChg chg="mod">
          <ac:chgData name="Zhizhin Alexander" userId="1744cf81-5033-49c6-ac65-db2cb706729e" providerId="ADAL" clId="{E0CF3A5F-E15C-4BD1-8C1A-739181ECE2A6}" dt="2022-01-27T05:38:29.983" v="38" actId="1076"/>
          <ac:cxnSpMkLst>
            <pc:docMk/>
            <pc:sldMk cId="464122120" sldId="329"/>
            <ac:cxnSpMk id="81" creationId="{5567D0CD-52D9-4DAA-BBFC-48DAEB2504E3}"/>
          </ac:cxnSpMkLst>
        </pc:cxnChg>
        <pc:cxnChg chg="mod">
          <ac:chgData name="Zhizhin Alexander" userId="1744cf81-5033-49c6-ac65-db2cb706729e" providerId="ADAL" clId="{E0CF3A5F-E15C-4BD1-8C1A-739181ECE2A6}" dt="2022-01-27T05:38:29.983" v="38" actId="1076"/>
          <ac:cxnSpMkLst>
            <pc:docMk/>
            <pc:sldMk cId="464122120" sldId="329"/>
            <ac:cxnSpMk id="85" creationId="{C8A751A1-419E-4143-ACE5-31A08E7C9553}"/>
          </ac:cxnSpMkLst>
        </pc:cxnChg>
        <pc:cxnChg chg="mod">
          <ac:chgData name="Zhizhin Alexander" userId="1744cf81-5033-49c6-ac65-db2cb706729e" providerId="ADAL" clId="{E0CF3A5F-E15C-4BD1-8C1A-739181ECE2A6}" dt="2022-01-27T05:38:29.983" v="38" actId="1076"/>
          <ac:cxnSpMkLst>
            <pc:docMk/>
            <pc:sldMk cId="464122120" sldId="329"/>
            <ac:cxnSpMk id="88" creationId="{D40529A9-DBA3-4284-9069-4F946ACD3995}"/>
          </ac:cxnSpMkLst>
        </pc:cxnChg>
        <pc:cxnChg chg="mod">
          <ac:chgData name="Zhizhin Alexander" userId="1744cf81-5033-49c6-ac65-db2cb706729e" providerId="ADAL" clId="{E0CF3A5F-E15C-4BD1-8C1A-739181ECE2A6}" dt="2022-01-27T05:38:29.983" v="38" actId="1076"/>
          <ac:cxnSpMkLst>
            <pc:docMk/>
            <pc:sldMk cId="464122120" sldId="329"/>
            <ac:cxnSpMk id="98" creationId="{7EB70380-AFD1-4A87-9D07-A3B4383DFCF6}"/>
          </ac:cxnSpMkLst>
        </pc:cxnChg>
        <pc:cxnChg chg="mod">
          <ac:chgData name="Zhizhin Alexander" userId="1744cf81-5033-49c6-ac65-db2cb706729e" providerId="ADAL" clId="{E0CF3A5F-E15C-4BD1-8C1A-739181ECE2A6}" dt="2022-01-27T05:38:29.983" v="38" actId="1076"/>
          <ac:cxnSpMkLst>
            <pc:docMk/>
            <pc:sldMk cId="464122120" sldId="329"/>
            <ac:cxnSpMk id="99" creationId="{4DDC65B7-4E7C-448F-9FF5-8CD6B9EAF5F3}"/>
          </ac:cxnSpMkLst>
        </pc:cxnChg>
        <pc:cxnChg chg="mod">
          <ac:chgData name="Zhizhin Alexander" userId="1744cf81-5033-49c6-ac65-db2cb706729e" providerId="ADAL" clId="{E0CF3A5F-E15C-4BD1-8C1A-739181ECE2A6}" dt="2022-01-27T05:38:29.983" v="38" actId="1076"/>
          <ac:cxnSpMkLst>
            <pc:docMk/>
            <pc:sldMk cId="464122120" sldId="329"/>
            <ac:cxnSpMk id="119" creationId="{7B52A274-E4C6-4BFD-9C34-17713AE92992}"/>
          </ac:cxnSpMkLst>
        </pc:cxnChg>
        <pc:cxnChg chg="mod">
          <ac:chgData name="Zhizhin Alexander" userId="1744cf81-5033-49c6-ac65-db2cb706729e" providerId="ADAL" clId="{E0CF3A5F-E15C-4BD1-8C1A-739181ECE2A6}" dt="2022-01-27T05:38:29.983" v="38" actId="1076"/>
          <ac:cxnSpMkLst>
            <pc:docMk/>
            <pc:sldMk cId="464122120" sldId="329"/>
            <ac:cxnSpMk id="126" creationId="{3A0A9DEF-97BD-4776-85AA-995E72B89A35}"/>
          </ac:cxnSpMkLst>
        </pc:cxnChg>
        <pc:cxnChg chg="mod">
          <ac:chgData name="Zhizhin Alexander" userId="1744cf81-5033-49c6-ac65-db2cb706729e" providerId="ADAL" clId="{E0CF3A5F-E15C-4BD1-8C1A-739181ECE2A6}" dt="2022-01-27T05:38:29.983" v="38" actId="1076"/>
          <ac:cxnSpMkLst>
            <pc:docMk/>
            <pc:sldMk cId="464122120" sldId="329"/>
            <ac:cxnSpMk id="127" creationId="{E652EC2D-0EAF-4AD8-9C68-F5EB5598FD62}"/>
          </ac:cxnSpMkLst>
        </pc:cxnChg>
        <pc:cxnChg chg="mod">
          <ac:chgData name="Zhizhin Alexander" userId="1744cf81-5033-49c6-ac65-db2cb706729e" providerId="ADAL" clId="{E0CF3A5F-E15C-4BD1-8C1A-739181ECE2A6}" dt="2022-01-27T05:38:29.983" v="38" actId="1076"/>
          <ac:cxnSpMkLst>
            <pc:docMk/>
            <pc:sldMk cId="464122120" sldId="329"/>
            <ac:cxnSpMk id="130" creationId="{DE1E0FE0-A600-4060-8007-5FE3BFBC8801}"/>
          </ac:cxnSpMkLst>
        </pc:cxnChg>
        <pc:cxnChg chg="del mod">
          <ac:chgData name="Zhizhin Alexander" userId="1744cf81-5033-49c6-ac65-db2cb706729e" providerId="ADAL" clId="{E0CF3A5F-E15C-4BD1-8C1A-739181ECE2A6}" dt="2022-01-27T05:35:14.163" v="6" actId="478"/>
          <ac:cxnSpMkLst>
            <pc:docMk/>
            <pc:sldMk cId="464122120" sldId="329"/>
            <ac:cxnSpMk id="135" creationId="{874A6615-5334-428F-A657-F39D76FC8C7F}"/>
          </ac:cxnSpMkLst>
        </pc:cxnChg>
        <pc:cxnChg chg="mod">
          <ac:chgData name="Zhizhin Alexander" userId="1744cf81-5033-49c6-ac65-db2cb706729e" providerId="ADAL" clId="{E0CF3A5F-E15C-4BD1-8C1A-739181ECE2A6}" dt="2022-01-27T05:38:29.983" v="38" actId="1076"/>
          <ac:cxnSpMkLst>
            <pc:docMk/>
            <pc:sldMk cId="464122120" sldId="329"/>
            <ac:cxnSpMk id="144" creationId="{5C180159-56D1-4236-86DD-9D88790B8431}"/>
          </ac:cxnSpMkLst>
        </pc:cxnChg>
      </pc:sldChg>
      <pc:sldChg chg="modSp mod">
        <pc:chgData name="Zhizhin Alexander" userId="1744cf81-5033-49c6-ac65-db2cb706729e" providerId="ADAL" clId="{E0CF3A5F-E15C-4BD1-8C1A-739181ECE2A6}" dt="2022-01-27T06:09:43.130" v="190" actId="2085"/>
        <pc:sldMkLst>
          <pc:docMk/>
          <pc:sldMk cId="877720960" sldId="330"/>
        </pc:sldMkLst>
        <pc:spChg chg="mod">
          <ac:chgData name="Zhizhin Alexander" userId="1744cf81-5033-49c6-ac65-db2cb706729e" providerId="ADAL" clId="{E0CF3A5F-E15C-4BD1-8C1A-739181ECE2A6}" dt="2022-01-27T06:09:43.130" v="190" actId="2085"/>
          <ac:spMkLst>
            <pc:docMk/>
            <pc:sldMk cId="877720960" sldId="330"/>
            <ac:spMk id="19" creationId="{92550530-3DFE-4C20-A010-6CCA7C1E6B44}"/>
          </ac:spMkLst>
        </pc:spChg>
        <pc:spChg chg="mod">
          <ac:chgData name="Zhizhin Alexander" userId="1744cf81-5033-49c6-ac65-db2cb706729e" providerId="ADAL" clId="{E0CF3A5F-E15C-4BD1-8C1A-739181ECE2A6}" dt="2022-01-27T06:09:08.591" v="177" actId="1076"/>
          <ac:spMkLst>
            <pc:docMk/>
            <pc:sldMk cId="877720960" sldId="330"/>
            <ac:spMk id="95" creationId="{BD169208-68F6-4E84-A2E2-1F7267C34193}"/>
          </ac:spMkLst>
        </pc:spChg>
        <pc:spChg chg="mod">
          <ac:chgData name="Zhizhin Alexander" userId="1744cf81-5033-49c6-ac65-db2cb706729e" providerId="ADAL" clId="{E0CF3A5F-E15C-4BD1-8C1A-739181ECE2A6}" dt="2022-01-27T06:09:17.915" v="179" actId="1076"/>
          <ac:spMkLst>
            <pc:docMk/>
            <pc:sldMk cId="877720960" sldId="330"/>
            <ac:spMk id="97" creationId="{10206807-2652-4D9D-A03D-A4614E59A59E}"/>
          </ac:spMkLst>
        </pc:spChg>
        <pc:cxnChg chg="mod">
          <ac:chgData name="Zhizhin Alexander" userId="1744cf81-5033-49c6-ac65-db2cb706729e" providerId="ADAL" clId="{E0CF3A5F-E15C-4BD1-8C1A-739181ECE2A6}" dt="2022-01-27T06:09:17.915" v="179" actId="1076"/>
          <ac:cxnSpMkLst>
            <pc:docMk/>
            <pc:sldMk cId="877720960" sldId="330"/>
            <ac:cxnSpMk id="56" creationId="{0DA41930-D60F-4E26-837D-AD8AA725079A}"/>
          </ac:cxnSpMkLst>
        </pc:cxnChg>
        <pc:cxnChg chg="mod">
          <ac:chgData name="Zhizhin Alexander" userId="1744cf81-5033-49c6-ac65-db2cb706729e" providerId="ADAL" clId="{E0CF3A5F-E15C-4BD1-8C1A-739181ECE2A6}" dt="2022-01-27T06:09:08.591" v="177" actId="1076"/>
          <ac:cxnSpMkLst>
            <pc:docMk/>
            <pc:sldMk cId="877720960" sldId="330"/>
            <ac:cxnSpMk id="92" creationId="{3729253D-BD08-4DA8-ACA3-A59AD3E75BB3}"/>
          </ac:cxnSpMkLst>
        </pc:cxnChg>
        <pc:cxnChg chg="mod">
          <ac:chgData name="Zhizhin Alexander" userId="1744cf81-5033-49c6-ac65-db2cb706729e" providerId="ADAL" clId="{E0CF3A5F-E15C-4BD1-8C1A-739181ECE2A6}" dt="2022-01-27T06:09:14.622" v="178" actId="14100"/>
          <ac:cxnSpMkLst>
            <pc:docMk/>
            <pc:sldMk cId="877720960" sldId="330"/>
            <ac:cxnSpMk id="99" creationId="{4DDC65B7-4E7C-448F-9FF5-8CD6B9EAF5F3}"/>
          </ac:cxnSpMkLst>
        </pc:cxnChg>
        <pc:cxnChg chg="mod">
          <ac:chgData name="Zhizhin Alexander" userId="1744cf81-5033-49c6-ac65-db2cb706729e" providerId="ADAL" clId="{E0CF3A5F-E15C-4BD1-8C1A-739181ECE2A6}" dt="2022-01-27T06:09:08.591" v="177" actId="1076"/>
          <ac:cxnSpMkLst>
            <pc:docMk/>
            <pc:sldMk cId="877720960" sldId="330"/>
            <ac:cxnSpMk id="135" creationId="{874A6615-5334-428F-A657-F39D76FC8C7F}"/>
          </ac:cxnSpMkLst>
        </pc:cxn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shnaytat\Desktop\01.26%20&#1040;&#1085;&#1072;&#1083;&#1080;&#1079;%20&#1055;&#1054;%20&#1087;&#1086;%20&#1075;&#1088;&#1091;&#1087;&#1087;&#1072;&#1084;%202019-2026%20&#1103;&#1085;&#1074;&#1072;&#1088;&#1100;%202026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9215369632557833E-2"/>
          <c:y val="9.2559893937095045E-2"/>
          <c:w val="0.89814333254296785"/>
          <c:h val="0.71839265139373198"/>
        </c:manualLayout>
      </c:layout>
      <c:lineChart>
        <c:grouping val="standard"/>
        <c:varyColors val="0"/>
        <c:ser>
          <c:idx val="0"/>
          <c:order val="0"/>
          <c:tx>
            <c:strRef>
              <c:f>'Анализ ОДПУ 22-26 без сетевых'!$AK$4</c:f>
              <c:strCache>
                <c:ptCount val="1"/>
                <c:pt idx="0">
                  <c:v>Уровень оприборенности, %</c:v>
                </c:pt>
              </c:strCache>
            </c:strRef>
          </c:tx>
          <c:spPr>
            <a:ln w="25400" cap="rnd" cmpd="sng">
              <a:solidFill>
                <a:schemeClr val="accent1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circle"/>
            <c:size val="6"/>
            <c:spPr>
              <a:gradFill rotWithShape="1">
                <a:gsLst>
                  <a:gs pos="0">
                    <a:schemeClr val="accent1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1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1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 w="9525" cap="rnd">
                <a:solidFill>
                  <a:schemeClr val="accent1"/>
                </a:solidFill>
                <a:round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Анализ ОДПУ 22-26 без сетевых'!$AL$3:$AO$3</c:f>
              <c:numCache>
                <c:formatCode>General</c:formatCode>
                <c:ptCount val="4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  <c:pt idx="3">
                  <c:v>2025</c:v>
                </c:pt>
              </c:numCache>
            </c:numRef>
          </c:cat>
          <c:val>
            <c:numRef>
              <c:f>'Анализ ОДПУ 22-26 без сетевых'!$AL$4:$AO$4</c:f>
              <c:numCache>
                <c:formatCode>0.0%</c:formatCode>
                <c:ptCount val="4"/>
                <c:pt idx="0">
                  <c:v>0.68785098202154538</c:v>
                </c:pt>
                <c:pt idx="1">
                  <c:v>0.70490245125475337</c:v>
                </c:pt>
                <c:pt idx="2">
                  <c:v>0.71345604957842912</c:v>
                </c:pt>
                <c:pt idx="3">
                  <c:v>0.70708531561609811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26D9-46B0-B12A-BCA2987E831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78096191"/>
        <c:axId val="678094527"/>
      </c:lineChart>
      <c:catAx>
        <c:axId val="678096191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678094527"/>
        <c:crosses val="autoZero"/>
        <c:auto val="1"/>
        <c:lblAlgn val="ctr"/>
        <c:lblOffset val="100"/>
        <c:noMultiLvlLbl val="0"/>
      </c:catAx>
      <c:valAx>
        <c:axId val="67809452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67809619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latin typeface="Arial Narrow" panose="020B0606020202030204" pitchFamily="34" charset="0"/>
        </a:defRPr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/>
              <a:t>Кол-во </a:t>
            </a:r>
            <a:r>
              <a:rPr lang="ru-RU" dirty="0" smtClean="0"/>
              <a:t>некоммерческих ПУ МКД</a:t>
            </a:r>
            <a:endParaRPr lang="ru-RU" dirty="0"/>
          </a:p>
        </c:rich>
      </c:tx>
      <c:layout>
        <c:manualLayout>
          <c:xMode val="edge"/>
          <c:yMode val="edge"/>
          <c:x val="0.24514508035605531"/>
          <c:y val="2.73251183460916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-во некоммерчесских приборов учета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4</c:f>
              <c:numCache>
                <c:formatCode>m/d/yyyy</c:formatCode>
                <c:ptCount val="3"/>
                <c:pt idx="0">
                  <c:v>45771</c:v>
                </c:pt>
                <c:pt idx="1">
                  <c:v>45929</c:v>
                </c:pt>
                <c:pt idx="2">
                  <c:v>46085</c:v>
                </c:pt>
              </c:numCache>
            </c:num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397</c:v>
                </c:pt>
                <c:pt idx="1">
                  <c:v>865</c:v>
                </c:pt>
                <c:pt idx="2">
                  <c:v>3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6D2-467A-8702-F2734345D8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87158895"/>
        <c:axId val="587157647"/>
      </c:lineChart>
      <c:catAx>
        <c:axId val="587158895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87157647"/>
        <c:crosses val="autoZero"/>
        <c:auto val="0"/>
        <c:lblAlgn val="ctr"/>
        <c:lblOffset val="100"/>
        <c:noMultiLvlLbl val="0"/>
      </c:catAx>
      <c:valAx>
        <c:axId val="58715764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8715889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Начисления за ОЗП 25-26, млн. руб./год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dLbl>
              <c:idx val="0"/>
              <c:layout>
                <c:manualLayout>
                  <c:x val="1.7162520902744315E-3"/>
                  <c:y val="0.1456020851961326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tx1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5521-4DFB-B49C-327A594F8645}"/>
                </c:ext>
              </c:extLst>
            </c:dLbl>
            <c:dLbl>
              <c:idx val="1"/>
              <c:layout>
                <c:manualLayout>
                  <c:x val="1.0908125028585415E-2"/>
                  <c:y val="0.26941856806101971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tx1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5521-4DFB-B49C-327A594F864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3</c:f>
              <c:strCache>
                <c:ptCount val="2"/>
                <c:pt idx="0">
                  <c:v>Расчет по ПУ</c:v>
                </c:pt>
                <c:pt idx="1">
                  <c:v>Расчет без ПУ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4.5999999999999996</c:v>
                </c:pt>
                <c:pt idx="1">
                  <c:v>17.3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047-4951-B84F-27E1535E865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24"/>
        <c:axId val="1355670288"/>
        <c:axId val="1355672784"/>
      </c:barChart>
      <c:catAx>
        <c:axId val="13556702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endParaRPr lang="ru-RU"/>
          </a:p>
        </c:txPr>
        <c:crossAx val="1355672784"/>
        <c:crosses val="autoZero"/>
        <c:auto val="1"/>
        <c:lblAlgn val="ctr"/>
        <c:lblOffset val="100"/>
        <c:noMultiLvlLbl val="0"/>
      </c:catAx>
      <c:valAx>
        <c:axId val="1355672784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13556702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4.9999872738240372E-2"/>
          <c:y val="0.83482214894420814"/>
          <c:w val="0.9"/>
          <c:h val="0.12298604110782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Начисления за ОЗП 25-26, млн. руб./год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satMod val="103000"/>
                    <a:lumMod val="102000"/>
                    <a:tint val="94000"/>
                  </a:schemeClr>
                </a:gs>
                <a:gs pos="50000">
                  <a:schemeClr val="accent6">
                    <a:satMod val="110000"/>
                    <a:lumMod val="100000"/>
                    <a:shade val="100000"/>
                  </a:schemeClr>
                </a:gs>
                <a:gs pos="100000">
                  <a:schemeClr val="accent6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dLbl>
              <c:idx val="0"/>
              <c:layout>
                <c:manualLayout>
                  <c:x val="2.2120904266281823E-3"/>
                  <c:y val="0.295862516998418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tx1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1049-4A62-AE18-E7BE37C22F64}"/>
                </c:ext>
              </c:extLst>
            </c:dLbl>
            <c:dLbl>
              <c:idx val="1"/>
              <c:layout>
                <c:manualLayout>
                  <c:x val="-3.6782981100627284E-3"/>
                  <c:y val="0.26941872196958144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tx1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1049-4A62-AE18-E7BE37C22F6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3</c:f>
              <c:strCache>
                <c:ptCount val="2"/>
                <c:pt idx="0">
                  <c:v>Расчет по ОДПУ</c:v>
                </c:pt>
                <c:pt idx="1">
                  <c:v>Расчет по нормативу</c:v>
                </c:pt>
              </c:strCache>
            </c:strRef>
          </c:cat>
          <c:val>
            <c:numRef>
              <c:f>Лист1!$B$2:$B$3</c:f>
              <c:numCache>
                <c:formatCode>0.000</c:formatCode>
                <c:ptCount val="2"/>
                <c:pt idx="0">
                  <c:v>1.7110000000000001</c:v>
                </c:pt>
                <c:pt idx="1">
                  <c:v>1.687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049-4A62-AE18-E7BE37C22F6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24"/>
        <c:axId val="1355670288"/>
        <c:axId val="1355672784"/>
      </c:barChart>
      <c:catAx>
        <c:axId val="13556702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endParaRPr lang="ru-RU"/>
          </a:p>
        </c:txPr>
        <c:crossAx val="1355672784"/>
        <c:crosses val="autoZero"/>
        <c:auto val="1"/>
        <c:lblAlgn val="ctr"/>
        <c:lblOffset val="100"/>
        <c:noMultiLvlLbl val="0"/>
      </c:catAx>
      <c:valAx>
        <c:axId val="1355672784"/>
        <c:scaling>
          <c:orientation val="minMax"/>
          <c:min val="0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0" sourceLinked="1"/>
        <c:majorTickMark val="out"/>
        <c:minorTickMark val="none"/>
        <c:tickLblPos val="nextTo"/>
        <c:crossAx val="13556702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3160739316035113E-2"/>
          <c:y val="0.83867973203598756"/>
          <c:w val="0.89999985067138144"/>
          <c:h val="0.1082622237169457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43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3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18831" cy="493316"/>
          </a:xfrm>
          <a:prstGeom prst="rect">
            <a:avLst/>
          </a:prstGeom>
        </p:spPr>
        <p:txBody>
          <a:bodyPr vert="horz" lIns="91990" tIns="45996" rIns="91990" bIns="45996" rtlCol="0"/>
          <a:lstStyle>
            <a:lvl1pPr algn="l">
              <a:defRPr sz="1200"/>
            </a:lvl1pPr>
          </a:lstStyle>
          <a:p>
            <a:endParaRPr lang="en-GB" sz="80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15376" y="0"/>
            <a:ext cx="2918831" cy="493316"/>
          </a:xfrm>
          <a:prstGeom prst="rect">
            <a:avLst/>
          </a:prstGeom>
        </p:spPr>
        <p:txBody>
          <a:bodyPr vert="horz" lIns="91990" tIns="45996" rIns="91990" bIns="45996" rtlCol="0"/>
          <a:lstStyle>
            <a:lvl1pPr algn="r">
              <a:defRPr sz="1200"/>
            </a:lvl1pPr>
          </a:lstStyle>
          <a:p>
            <a:fld id="{350F8046-85FC-4FD5-A4E3-9A0F96F0652E}" type="datetimeFigureOut">
              <a:rPr lang="en-GB" sz="800"/>
              <a:pPr/>
              <a:t>11/03/2026</a:t>
            </a:fld>
            <a:endParaRPr lang="en-GB" sz="8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9371285"/>
            <a:ext cx="2918831" cy="493316"/>
          </a:xfrm>
          <a:prstGeom prst="rect">
            <a:avLst/>
          </a:prstGeom>
        </p:spPr>
        <p:txBody>
          <a:bodyPr vert="horz" lIns="91990" tIns="45996" rIns="91990" bIns="45996" rtlCol="0" anchor="b"/>
          <a:lstStyle>
            <a:lvl1pPr algn="l">
              <a:defRPr sz="1200"/>
            </a:lvl1pPr>
          </a:lstStyle>
          <a:p>
            <a:endParaRPr lang="en-GB" sz="8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15376" y="9371285"/>
            <a:ext cx="2918831" cy="493316"/>
          </a:xfrm>
          <a:prstGeom prst="rect">
            <a:avLst/>
          </a:prstGeom>
        </p:spPr>
        <p:txBody>
          <a:bodyPr vert="horz" lIns="91990" tIns="45996" rIns="91990" bIns="45996" rtlCol="0" anchor="b"/>
          <a:lstStyle>
            <a:lvl1pPr algn="r">
              <a:defRPr sz="1200"/>
            </a:lvl1pPr>
          </a:lstStyle>
          <a:p>
            <a:fld id="{8EE9B2A9-21C0-47F0-A298-245651CC1480}" type="slidenum">
              <a:rPr lang="en-GB" sz="800"/>
              <a:pPr/>
              <a:t>‹#›</a:t>
            </a:fld>
            <a:endParaRPr lang="en-GB" sz="800"/>
          </a:p>
        </p:txBody>
      </p:sp>
    </p:spTree>
    <p:extLst>
      <p:ext uri="{BB962C8B-B14F-4D97-AF65-F5344CB8AC3E}">
        <p14:creationId xmlns:p14="http://schemas.microsoft.com/office/powerpoint/2010/main" val="145887062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18831" cy="493316"/>
          </a:xfrm>
          <a:prstGeom prst="rect">
            <a:avLst/>
          </a:prstGeom>
        </p:spPr>
        <p:txBody>
          <a:bodyPr vert="horz" lIns="91990" tIns="45996" rIns="91990" bIns="45996" rtlCol="0"/>
          <a:lstStyle>
            <a:lvl1pPr algn="l">
              <a:defRPr sz="8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5376" y="0"/>
            <a:ext cx="2918831" cy="493316"/>
          </a:xfrm>
          <a:prstGeom prst="rect">
            <a:avLst/>
          </a:prstGeom>
        </p:spPr>
        <p:txBody>
          <a:bodyPr vert="horz" lIns="91990" tIns="45996" rIns="91990" bIns="45996" rtlCol="0"/>
          <a:lstStyle>
            <a:lvl1pPr algn="r">
              <a:defRPr sz="800"/>
            </a:lvl1pPr>
          </a:lstStyle>
          <a:p>
            <a:fld id="{ABFA111A-1A89-4AA2-9C46-2352FF1AE347}" type="datetimeFigureOut">
              <a:rPr lang="en-GB" smtClean="0"/>
              <a:pPr/>
              <a:t>11/03/202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14338" y="927100"/>
            <a:ext cx="5907087" cy="33242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990" tIns="45996" rIns="91990" bIns="45996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3577" y="4686499"/>
            <a:ext cx="5388610" cy="4439840"/>
          </a:xfrm>
          <a:prstGeom prst="rect">
            <a:avLst/>
          </a:prstGeom>
        </p:spPr>
        <p:txBody>
          <a:bodyPr vert="horz" lIns="91990" tIns="45996" rIns="91990" bIns="45996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9371285"/>
            <a:ext cx="2918831" cy="493316"/>
          </a:xfrm>
          <a:prstGeom prst="rect">
            <a:avLst/>
          </a:prstGeom>
        </p:spPr>
        <p:txBody>
          <a:bodyPr vert="horz" lIns="91990" tIns="45996" rIns="91990" bIns="45996" rtlCol="0" anchor="b"/>
          <a:lstStyle>
            <a:lvl1pPr algn="l">
              <a:defRPr sz="8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5376" y="9371285"/>
            <a:ext cx="2918831" cy="493316"/>
          </a:xfrm>
          <a:prstGeom prst="rect">
            <a:avLst/>
          </a:prstGeom>
        </p:spPr>
        <p:txBody>
          <a:bodyPr vert="horz" lIns="91990" tIns="45996" rIns="91990" bIns="45996" rtlCol="0" anchor="b"/>
          <a:lstStyle>
            <a:lvl1pPr algn="r">
              <a:defRPr sz="800"/>
            </a:lvl1pPr>
          </a:lstStyle>
          <a:p>
            <a:fld id="{88660AA7-B332-445C-B333-2DE9989610F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87896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75334" rtl="0" eaLnBrk="1" latinLnBrk="0" hangingPunct="1">
      <a:defRPr sz="1411" kern="1200">
        <a:solidFill>
          <a:schemeClr val="tx1"/>
        </a:solidFill>
        <a:latin typeface="+mn-lt"/>
        <a:ea typeface="+mn-ea"/>
        <a:cs typeface="+mn-cs"/>
      </a:defRPr>
    </a:lvl1pPr>
    <a:lvl2pPr marL="537667" algn="l" defTabSz="1075334" rtl="0" eaLnBrk="1" latinLnBrk="0" hangingPunct="1">
      <a:defRPr sz="1411" kern="1200">
        <a:solidFill>
          <a:schemeClr val="tx1"/>
        </a:solidFill>
        <a:latin typeface="+mn-lt"/>
        <a:ea typeface="+mn-ea"/>
        <a:cs typeface="+mn-cs"/>
      </a:defRPr>
    </a:lvl2pPr>
    <a:lvl3pPr marL="1075334" algn="l" defTabSz="1075334" rtl="0" eaLnBrk="1" latinLnBrk="0" hangingPunct="1">
      <a:defRPr sz="1411" kern="1200">
        <a:solidFill>
          <a:schemeClr val="tx1"/>
        </a:solidFill>
        <a:latin typeface="+mn-lt"/>
        <a:ea typeface="+mn-ea"/>
        <a:cs typeface="+mn-cs"/>
      </a:defRPr>
    </a:lvl3pPr>
    <a:lvl4pPr marL="1613002" algn="l" defTabSz="1075334" rtl="0" eaLnBrk="1" latinLnBrk="0" hangingPunct="1">
      <a:defRPr sz="1411" kern="1200">
        <a:solidFill>
          <a:schemeClr val="tx1"/>
        </a:solidFill>
        <a:latin typeface="+mn-lt"/>
        <a:ea typeface="+mn-ea"/>
        <a:cs typeface="+mn-cs"/>
      </a:defRPr>
    </a:lvl4pPr>
    <a:lvl5pPr marL="2150669" algn="l" defTabSz="1075334" rtl="0" eaLnBrk="1" latinLnBrk="0" hangingPunct="1">
      <a:defRPr sz="1411" kern="1200">
        <a:solidFill>
          <a:schemeClr val="tx1"/>
        </a:solidFill>
        <a:latin typeface="+mn-lt"/>
        <a:ea typeface="+mn-ea"/>
        <a:cs typeface="+mn-cs"/>
      </a:defRPr>
    </a:lvl5pPr>
    <a:lvl6pPr marL="2688336" algn="l" defTabSz="1075334" rtl="0" eaLnBrk="1" latinLnBrk="0" hangingPunct="1">
      <a:defRPr sz="1411" kern="1200">
        <a:solidFill>
          <a:schemeClr val="tx1"/>
        </a:solidFill>
        <a:latin typeface="+mn-lt"/>
        <a:ea typeface="+mn-ea"/>
        <a:cs typeface="+mn-cs"/>
      </a:defRPr>
    </a:lvl6pPr>
    <a:lvl7pPr marL="3226003" algn="l" defTabSz="1075334" rtl="0" eaLnBrk="1" latinLnBrk="0" hangingPunct="1">
      <a:defRPr sz="1411" kern="1200">
        <a:solidFill>
          <a:schemeClr val="tx1"/>
        </a:solidFill>
        <a:latin typeface="+mn-lt"/>
        <a:ea typeface="+mn-ea"/>
        <a:cs typeface="+mn-cs"/>
      </a:defRPr>
    </a:lvl7pPr>
    <a:lvl8pPr marL="3763670" algn="l" defTabSz="1075334" rtl="0" eaLnBrk="1" latinLnBrk="0" hangingPunct="1">
      <a:defRPr sz="1411" kern="1200">
        <a:solidFill>
          <a:schemeClr val="tx1"/>
        </a:solidFill>
        <a:latin typeface="+mn-lt"/>
        <a:ea typeface="+mn-ea"/>
        <a:cs typeface="+mn-cs"/>
      </a:defRPr>
    </a:lvl8pPr>
    <a:lvl9pPr marL="4301338" algn="l" defTabSz="1075334" rtl="0" eaLnBrk="1" latinLnBrk="0" hangingPunct="1">
      <a:defRPr sz="1411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660AA7-B332-445C-B333-2DE9989610F4}" type="slidenum">
              <a:rPr lang="en-GB" smtClean="0"/>
              <a:pPr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77429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660AA7-B332-445C-B333-2DE9989610F4}" type="slidenum">
              <a:rPr lang="en-GB" smtClean="0"/>
              <a:pPr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04672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65163" y="1344613"/>
            <a:ext cx="8566150" cy="481806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smtClean="0"/>
          </a:p>
        </p:txBody>
      </p:sp>
      <p:sp>
        <p:nvSpPr>
          <p:cNvPr id="8196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F605A1DD-175C-49ED-91D9-8646296F2BB6}" type="slidenum">
              <a:rPr lang="en-GB" altLang="ru-RU" smtClean="0"/>
              <a:pPr/>
              <a:t>10</a:t>
            </a:fld>
            <a:endParaRPr lang="en-GB" altLang="ru-RU" smtClean="0"/>
          </a:p>
        </p:txBody>
      </p:sp>
    </p:spTree>
    <p:extLst>
      <p:ext uri="{BB962C8B-B14F-4D97-AF65-F5344CB8AC3E}">
        <p14:creationId xmlns:p14="http://schemas.microsoft.com/office/powerpoint/2010/main" val="31112487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660AA7-B332-445C-B333-2DE9989610F4}" type="slidenum">
              <a:rPr lang="en-GB" smtClean="0"/>
              <a:pPr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39844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660AA7-B332-445C-B333-2DE9989610F4}" type="slidenum">
              <a:rPr lang="en-GB" smtClean="0"/>
              <a:pPr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333400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71217" y="3288432"/>
            <a:ext cx="12903835" cy="3024336"/>
          </a:xfrm>
        </p:spPr>
        <p:txBody>
          <a:bodyPr anchor="t" anchorCtr="0"/>
          <a:lstStyle>
            <a:lvl1pPr algn="l">
              <a:defRPr sz="7000" b="1">
                <a:solidFill>
                  <a:schemeClr val="accent2"/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71217" y="2078041"/>
            <a:ext cx="12903835" cy="1009431"/>
          </a:xfrm>
        </p:spPr>
        <p:txBody>
          <a:bodyPr anchor="b" anchorCtr="0"/>
          <a:lstStyle>
            <a:lvl1pPr marL="0" indent="0" algn="l">
              <a:buNone/>
              <a:defRPr sz="2800">
                <a:solidFill>
                  <a:schemeClr val="accent2"/>
                </a:solidFill>
              </a:defRPr>
            </a:lvl1pPr>
            <a:lvl2pPr marL="640064" indent="0" algn="ctr">
              <a:buNone/>
              <a:defRPr sz="2800"/>
            </a:lvl2pPr>
            <a:lvl3pPr marL="1280128" indent="0" algn="ctr">
              <a:buNone/>
              <a:defRPr sz="2520"/>
            </a:lvl3pPr>
            <a:lvl4pPr marL="1920192" indent="0" algn="ctr">
              <a:buNone/>
              <a:defRPr sz="2240"/>
            </a:lvl4pPr>
            <a:lvl5pPr marL="2560256" indent="0" algn="ctr">
              <a:buNone/>
              <a:defRPr sz="2240"/>
            </a:lvl5pPr>
            <a:lvl6pPr marL="3200320" indent="0" algn="ctr">
              <a:buNone/>
              <a:defRPr sz="2240"/>
            </a:lvl6pPr>
            <a:lvl7pPr marL="3840384" indent="0" algn="ctr">
              <a:buNone/>
              <a:defRPr sz="2240"/>
            </a:lvl7pPr>
            <a:lvl8pPr marL="4480448" indent="0" algn="ctr">
              <a:buNone/>
              <a:defRPr sz="2240"/>
            </a:lvl8pPr>
            <a:lvl9pPr marL="5120512" indent="0" algn="ctr">
              <a:buNone/>
              <a:defRPr sz="2240"/>
            </a:lvl9pPr>
          </a:lstStyle>
          <a:p>
            <a:r>
              <a:rPr lang="ru-RU" dirty="0"/>
              <a:t>Образец стиля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16.11.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771217" y="6514393"/>
            <a:ext cx="12903835" cy="1008773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r>
              <a:rPr lang="ru-RU" dirty="0"/>
              <a:t>Имя</a:t>
            </a:r>
            <a:r>
              <a:rPr lang="en-US" dirty="0"/>
              <a:t> / </a:t>
            </a:r>
            <a:r>
              <a:rPr lang="ru-RU" dirty="0"/>
              <a:t>Название</a:t>
            </a:r>
            <a:r>
              <a:rPr lang="en-US" dirty="0"/>
              <a:t> / </a:t>
            </a:r>
            <a:r>
              <a:rPr lang="ru-RU" dirty="0"/>
              <a:t>Дата</a:t>
            </a:r>
            <a:endParaRPr lang="en-US" dirty="0"/>
          </a:p>
        </p:txBody>
      </p:sp>
      <p:sp>
        <p:nvSpPr>
          <p:cNvPr id="36" name="Rectangle 35"/>
          <p:cNvSpPr/>
          <p:nvPr userDrawn="1"/>
        </p:nvSpPr>
        <p:spPr>
          <a:xfrm>
            <a:off x="16297599" y="6514390"/>
            <a:ext cx="771208" cy="80649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8016" tIns="64008" rIns="128016" bIns="640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964"/>
          </a:p>
        </p:txBody>
      </p:sp>
      <p:sp>
        <p:nvSpPr>
          <p:cNvPr id="37" name="Rectangle 36"/>
          <p:cNvSpPr/>
          <p:nvPr userDrawn="1"/>
        </p:nvSpPr>
        <p:spPr>
          <a:xfrm>
            <a:off x="13877467" y="8128282"/>
            <a:ext cx="655200" cy="6543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8016" tIns="64008" rIns="128016" bIns="640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964"/>
          </a:p>
        </p:txBody>
      </p:sp>
      <p:sp>
        <p:nvSpPr>
          <p:cNvPr id="38" name="Rectangle 37"/>
          <p:cNvSpPr/>
          <p:nvPr userDrawn="1"/>
        </p:nvSpPr>
        <p:spPr>
          <a:xfrm>
            <a:off x="15479324" y="5707881"/>
            <a:ext cx="403245" cy="40324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8016" tIns="64008" rIns="128016" bIns="640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964"/>
          </a:p>
        </p:txBody>
      </p:sp>
      <p:sp>
        <p:nvSpPr>
          <p:cNvPr id="40" name="Rectangle 39"/>
          <p:cNvSpPr/>
          <p:nvPr userDrawn="1"/>
        </p:nvSpPr>
        <p:spPr>
          <a:xfrm>
            <a:off x="14532675" y="7320771"/>
            <a:ext cx="2536135" cy="146187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8016" tIns="64008" rIns="128016" bIns="640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964"/>
          </a:p>
        </p:txBody>
      </p:sp>
      <p:sp>
        <p:nvSpPr>
          <p:cNvPr id="22" name="Rectangle 21"/>
          <p:cNvSpPr/>
          <p:nvPr userDrawn="1"/>
        </p:nvSpPr>
        <p:spPr>
          <a:xfrm>
            <a:off x="14532667" y="8782642"/>
            <a:ext cx="2016224" cy="554462"/>
          </a:xfrm>
          <a:prstGeom prst="rect">
            <a:avLst/>
          </a:prstGeom>
          <a:solidFill>
            <a:srgbClr val="83D2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8016" tIns="64008" rIns="128016" bIns="640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964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84697" y="8867620"/>
            <a:ext cx="1562335" cy="384513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4679108" y="7528938"/>
            <a:ext cx="2827491" cy="10229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60000"/>
              </a:lnSpc>
            </a:pPr>
            <a:r>
              <a:rPr lang="ru-RU" sz="3360" b="1" dirty="0">
                <a:solidFill>
                  <a:schemeClr val="bg1"/>
                </a:solidFill>
                <a:latin typeface="GT Eesti Pro Display Bold" pitchFamily="50" charset="-52"/>
              </a:rPr>
              <a:t>Станьте </a:t>
            </a:r>
          </a:p>
          <a:p>
            <a:pPr>
              <a:lnSpc>
                <a:spcPct val="60000"/>
              </a:lnSpc>
            </a:pPr>
            <a:r>
              <a:rPr lang="ru-RU" sz="3360" b="1" dirty="0">
                <a:solidFill>
                  <a:schemeClr val="bg1"/>
                </a:solidFill>
                <a:latin typeface="GT Eesti Pro Display Bold" pitchFamily="50" charset="-52"/>
              </a:rPr>
              <a:t>частью</a:t>
            </a:r>
          </a:p>
          <a:p>
            <a:pPr>
              <a:lnSpc>
                <a:spcPct val="60000"/>
              </a:lnSpc>
            </a:pPr>
            <a:r>
              <a:rPr lang="ru-RU" sz="3360" b="1" dirty="0">
                <a:solidFill>
                  <a:schemeClr val="bg1"/>
                </a:solidFill>
                <a:latin typeface="GT Eesti Pro Display Bold" pitchFamily="50" charset="-52"/>
              </a:rPr>
              <a:t>перемен</a:t>
            </a:r>
          </a:p>
        </p:txBody>
      </p:sp>
    </p:spTree>
    <p:extLst>
      <p:ext uri="{BB962C8B-B14F-4D97-AF65-F5344CB8AC3E}">
        <p14:creationId xmlns:p14="http://schemas.microsoft.com/office/powerpoint/2010/main" val="1259949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and Small Picture" preserve="1" userDrawn="1">
  <p:cSld name="title_and_picture_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71218" y="2078041"/>
            <a:ext cx="7561569" cy="6451917"/>
          </a:xfrm>
        </p:spPr>
        <p:txBody>
          <a:bodyPr/>
          <a:lstStyle/>
          <a:p>
            <a:pPr lvl="0"/>
            <a:r>
              <a:rPr lang="ru-RU" dirty="0"/>
              <a:t>Образец стиля текста</a:t>
            </a:r>
            <a:endParaRPr lang="en-US" dirty="0"/>
          </a:p>
          <a:p>
            <a:pPr lvl="1"/>
            <a:r>
              <a:rPr lang="ru-RU" dirty="0"/>
              <a:t>Образец стиля текста второго уровня</a:t>
            </a:r>
            <a:endParaRPr lang="en-US" dirty="0"/>
          </a:p>
          <a:p>
            <a:pPr lvl="2"/>
            <a:r>
              <a:rPr lang="ru-RU" dirty="0"/>
              <a:t>Образец стиля текста третьего уровня</a:t>
            </a:r>
            <a:endParaRPr lang="en-US" dirty="0"/>
          </a:p>
          <a:p>
            <a:pPr lvl="3"/>
            <a:r>
              <a:rPr lang="ru-RU" dirty="0"/>
              <a:t>Образец стиля текста четвёртого уровня</a:t>
            </a:r>
            <a:endParaRPr lang="en-US" dirty="0"/>
          </a:p>
          <a:p>
            <a:pPr lvl="4"/>
            <a:r>
              <a:rPr lang="ru-RU" dirty="0"/>
              <a:t>Образец стиля текста пятого уровн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6.11.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8736023" y="2078043"/>
            <a:ext cx="7561572" cy="6451917"/>
          </a:xfrm>
          <a:solidFill>
            <a:srgbClr val="EAEAEA"/>
          </a:solidFill>
        </p:spPr>
        <p:txBody>
          <a:bodyPr/>
          <a:lstStyle>
            <a:lvl1pPr marL="0" indent="0">
              <a:buFontTx/>
              <a:buNone/>
              <a:defRPr sz="252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Вставка рисунка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Заголовок слайда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9575800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and Picture 1/1" preserve="1" userDrawn="1">
  <p:cSld name="title_and_picture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6.11.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771213" y="2078043"/>
            <a:ext cx="15526385" cy="6451917"/>
          </a:xfrm>
          <a:solidFill>
            <a:srgbClr val="EAEAEA"/>
          </a:solidFill>
        </p:spPr>
        <p:txBody>
          <a:bodyPr/>
          <a:lstStyle>
            <a:lvl1pPr marL="0" indent="0">
              <a:buFontTx/>
              <a:buNone/>
              <a:defRPr sz="252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Вставка рисунка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Заголовок слайда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14185616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Only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6.11.2016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Заголовок слайда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5583070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lank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6.11.2016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5657313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logan" preserve="1" userDrawn="1">
  <p:cSld name="slog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16.11.2016</a:t>
            </a:r>
            <a:endParaRPr lang="en-US" dirty="0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771211" y="3590875"/>
            <a:ext cx="15526381" cy="2319040"/>
          </a:xfrm>
        </p:spPr>
        <p:txBody>
          <a:bodyPr anchor="ctr" anchorCtr="0"/>
          <a:lstStyle>
            <a:lvl1pPr algn="ctr">
              <a:defRPr sz="7000">
                <a:solidFill>
                  <a:schemeClr val="accent2"/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6207339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71217" y="3288432"/>
            <a:ext cx="12903835" cy="3024336"/>
          </a:xfrm>
        </p:spPr>
        <p:txBody>
          <a:bodyPr anchor="t" anchorCtr="0"/>
          <a:lstStyle>
            <a:lvl1pPr algn="l">
              <a:defRPr sz="7000" b="1">
                <a:solidFill>
                  <a:schemeClr val="accent2"/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71217" y="2078041"/>
            <a:ext cx="12903835" cy="1009431"/>
          </a:xfrm>
        </p:spPr>
        <p:txBody>
          <a:bodyPr anchor="b" anchorCtr="0"/>
          <a:lstStyle>
            <a:lvl1pPr marL="0" indent="0" algn="l">
              <a:buNone/>
              <a:defRPr sz="2800">
                <a:solidFill>
                  <a:schemeClr val="accent2"/>
                </a:solidFill>
              </a:defRPr>
            </a:lvl1pPr>
            <a:lvl2pPr marL="640064" indent="0" algn="ctr">
              <a:buNone/>
              <a:defRPr sz="2800"/>
            </a:lvl2pPr>
            <a:lvl3pPr marL="1280128" indent="0" algn="ctr">
              <a:buNone/>
              <a:defRPr sz="2520"/>
            </a:lvl3pPr>
            <a:lvl4pPr marL="1920192" indent="0" algn="ctr">
              <a:buNone/>
              <a:defRPr sz="2240"/>
            </a:lvl4pPr>
            <a:lvl5pPr marL="2560256" indent="0" algn="ctr">
              <a:buNone/>
              <a:defRPr sz="2240"/>
            </a:lvl5pPr>
            <a:lvl6pPr marL="3200320" indent="0" algn="ctr">
              <a:buNone/>
              <a:defRPr sz="2240"/>
            </a:lvl6pPr>
            <a:lvl7pPr marL="3840384" indent="0" algn="ctr">
              <a:buNone/>
              <a:defRPr sz="2240"/>
            </a:lvl7pPr>
            <a:lvl8pPr marL="4480448" indent="0" algn="ctr">
              <a:buNone/>
              <a:defRPr sz="2240"/>
            </a:lvl8pPr>
            <a:lvl9pPr marL="5120512" indent="0" algn="ctr">
              <a:buNone/>
              <a:defRPr sz="2240"/>
            </a:lvl9pPr>
          </a:lstStyle>
          <a:p>
            <a:r>
              <a:rPr lang="ru-RU" dirty="0"/>
              <a:t>Образец стиля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16.11.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771217" y="6514393"/>
            <a:ext cx="12903835" cy="1008773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r>
              <a:rPr lang="en-US" dirty="0"/>
              <a:t>Name / Title / Date</a:t>
            </a:r>
          </a:p>
        </p:txBody>
      </p:sp>
      <p:sp>
        <p:nvSpPr>
          <p:cNvPr id="36" name="Rectangle 35"/>
          <p:cNvSpPr/>
          <p:nvPr userDrawn="1"/>
        </p:nvSpPr>
        <p:spPr>
          <a:xfrm>
            <a:off x="16297599" y="6514390"/>
            <a:ext cx="771208" cy="80649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8016" tIns="64008" rIns="128016" bIns="640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964"/>
          </a:p>
        </p:txBody>
      </p:sp>
      <p:sp>
        <p:nvSpPr>
          <p:cNvPr id="37" name="Rectangle 36"/>
          <p:cNvSpPr/>
          <p:nvPr userDrawn="1"/>
        </p:nvSpPr>
        <p:spPr>
          <a:xfrm>
            <a:off x="13877467" y="8128282"/>
            <a:ext cx="655200" cy="6543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8016" tIns="64008" rIns="128016" bIns="640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964"/>
          </a:p>
        </p:txBody>
      </p:sp>
      <p:sp>
        <p:nvSpPr>
          <p:cNvPr id="38" name="Rectangle 37"/>
          <p:cNvSpPr/>
          <p:nvPr userDrawn="1"/>
        </p:nvSpPr>
        <p:spPr>
          <a:xfrm>
            <a:off x="15479324" y="5707881"/>
            <a:ext cx="403245" cy="40324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8016" tIns="64008" rIns="128016" bIns="640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964"/>
          </a:p>
        </p:txBody>
      </p:sp>
      <p:grpSp>
        <p:nvGrpSpPr>
          <p:cNvPr id="39" name="Group 38"/>
          <p:cNvGrpSpPr/>
          <p:nvPr userDrawn="1"/>
        </p:nvGrpSpPr>
        <p:grpSpPr>
          <a:xfrm>
            <a:off x="14532675" y="7320771"/>
            <a:ext cx="2536135" cy="1461872"/>
            <a:chOff x="9922019" y="5441193"/>
            <a:chExt cx="2006455" cy="1156555"/>
          </a:xfrm>
        </p:grpSpPr>
        <p:sp>
          <p:nvSpPr>
            <p:cNvPr id="40" name="Rectangle 39"/>
            <p:cNvSpPr/>
            <p:nvPr userDrawn="1"/>
          </p:nvSpPr>
          <p:spPr>
            <a:xfrm>
              <a:off x="9922019" y="5441193"/>
              <a:ext cx="2006455" cy="115655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964"/>
            </a:p>
          </p:txBody>
        </p:sp>
        <p:sp>
          <p:nvSpPr>
            <p:cNvPr id="41" name="Freeform 6"/>
            <p:cNvSpPr>
              <a:spLocks noEditPoints="1"/>
            </p:cNvSpPr>
            <p:nvPr userDrawn="1"/>
          </p:nvSpPr>
          <p:spPr bwMode="auto">
            <a:xfrm>
              <a:off x="10200210" y="5659646"/>
              <a:ext cx="1440406" cy="801030"/>
            </a:xfrm>
            <a:custGeom>
              <a:avLst/>
              <a:gdLst>
                <a:gd name="T0" fmla="*/ 2140 w 2388"/>
                <a:gd name="T1" fmla="*/ 289 h 1328"/>
                <a:gd name="T2" fmla="*/ 2094 w 2388"/>
                <a:gd name="T3" fmla="*/ 208 h 1328"/>
                <a:gd name="T4" fmla="*/ 2013 w 2388"/>
                <a:gd name="T5" fmla="*/ 407 h 1328"/>
                <a:gd name="T6" fmla="*/ 2172 w 2388"/>
                <a:gd name="T7" fmla="*/ 566 h 1328"/>
                <a:gd name="T8" fmla="*/ 2243 w 2388"/>
                <a:gd name="T9" fmla="*/ 468 h 1328"/>
                <a:gd name="T10" fmla="*/ 2384 w 2388"/>
                <a:gd name="T11" fmla="*/ 328 h 1328"/>
                <a:gd name="T12" fmla="*/ 2254 w 2388"/>
                <a:gd name="T13" fmla="*/ 183 h 1328"/>
                <a:gd name="T14" fmla="*/ 1799 w 2388"/>
                <a:gd name="T15" fmla="*/ 285 h 1328"/>
                <a:gd name="T16" fmla="*/ 2000 w 2388"/>
                <a:gd name="T17" fmla="*/ 311 h 1328"/>
                <a:gd name="T18" fmla="*/ 1862 w 2388"/>
                <a:gd name="T19" fmla="*/ 178 h 1328"/>
                <a:gd name="T20" fmla="*/ 1343 w 2388"/>
                <a:gd name="T21" fmla="*/ 189 h 1328"/>
                <a:gd name="T22" fmla="*/ 1538 w 2388"/>
                <a:gd name="T23" fmla="*/ 558 h 1328"/>
                <a:gd name="T24" fmla="*/ 1013 w 2388"/>
                <a:gd name="T25" fmla="*/ 179 h 1328"/>
                <a:gd name="T26" fmla="*/ 916 w 2388"/>
                <a:gd name="T27" fmla="*/ 341 h 1328"/>
                <a:gd name="T28" fmla="*/ 1035 w 2388"/>
                <a:gd name="T29" fmla="*/ 302 h 1328"/>
                <a:gd name="T30" fmla="*/ 1141 w 2388"/>
                <a:gd name="T31" fmla="*/ 225 h 1328"/>
                <a:gd name="T32" fmla="*/ 762 w 2388"/>
                <a:gd name="T33" fmla="*/ 0 h 1328"/>
                <a:gd name="T34" fmla="*/ 483 w 2388"/>
                <a:gd name="T35" fmla="*/ 430 h 1328"/>
                <a:gd name="T36" fmla="*/ 330 w 2388"/>
                <a:gd name="T37" fmla="*/ 383 h 1328"/>
                <a:gd name="T38" fmla="*/ 353 w 2388"/>
                <a:gd name="T39" fmla="*/ 186 h 1328"/>
                <a:gd name="T40" fmla="*/ 210 w 2388"/>
                <a:gd name="T41" fmla="*/ 363 h 1328"/>
                <a:gd name="T42" fmla="*/ 325 w 2388"/>
                <a:gd name="T43" fmla="*/ 553 h 1328"/>
                <a:gd name="T44" fmla="*/ 565 w 2388"/>
                <a:gd name="T45" fmla="*/ 516 h 1328"/>
                <a:gd name="T46" fmla="*/ 608 w 2388"/>
                <a:gd name="T47" fmla="*/ 293 h 1328"/>
                <a:gd name="T48" fmla="*/ 417 w 2388"/>
                <a:gd name="T49" fmla="*/ 178 h 1328"/>
                <a:gd name="T50" fmla="*/ 104 w 2388"/>
                <a:gd name="T51" fmla="*/ 552 h 1328"/>
                <a:gd name="T52" fmla="*/ 2228 w 2388"/>
                <a:gd name="T53" fmla="*/ 867 h 1328"/>
                <a:gd name="T54" fmla="*/ 2167 w 2388"/>
                <a:gd name="T55" fmla="*/ 869 h 1328"/>
                <a:gd name="T56" fmla="*/ 2059 w 2388"/>
                <a:gd name="T57" fmla="*/ 835 h 1328"/>
                <a:gd name="T58" fmla="*/ 2029 w 2388"/>
                <a:gd name="T59" fmla="*/ 1062 h 1328"/>
                <a:gd name="T60" fmla="*/ 2228 w 2388"/>
                <a:gd name="T61" fmla="*/ 1168 h 1328"/>
                <a:gd name="T62" fmla="*/ 2192 w 2388"/>
                <a:gd name="T63" fmla="*/ 1066 h 1328"/>
                <a:gd name="T64" fmla="*/ 2371 w 2388"/>
                <a:gd name="T65" fmla="*/ 878 h 1328"/>
                <a:gd name="T66" fmla="*/ 1790 w 2388"/>
                <a:gd name="T67" fmla="*/ 1059 h 1328"/>
                <a:gd name="T68" fmla="*/ 1719 w 2388"/>
                <a:gd name="T69" fmla="*/ 922 h 1328"/>
                <a:gd name="T70" fmla="*/ 1868 w 2388"/>
                <a:gd name="T71" fmla="*/ 936 h 1328"/>
                <a:gd name="T72" fmla="*/ 1846 w 2388"/>
                <a:gd name="T73" fmla="*/ 1326 h 1328"/>
                <a:gd name="T74" fmla="*/ 1997 w 2388"/>
                <a:gd name="T75" fmla="*/ 1177 h 1328"/>
                <a:gd name="T76" fmla="*/ 1729 w 2388"/>
                <a:gd name="T77" fmla="*/ 777 h 1328"/>
                <a:gd name="T78" fmla="*/ 1586 w 2388"/>
                <a:gd name="T79" fmla="*/ 926 h 1328"/>
                <a:gd name="T80" fmla="*/ 1659 w 2388"/>
                <a:gd name="T81" fmla="*/ 1136 h 1328"/>
                <a:gd name="T82" fmla="*/ 1863 w 2388"/>
                <a:gd name="T83" fmla="*/ 1123 h 1328"/>
                <a:gd name="T84" fmla="*/ 1768 w 2388"/>
                <a:gd name="T85" fmla="*/ 1215 h 1328"/>
                <a:gd name="T86" fmla="*/ 1369 w 2388"/>
                <a:gd name="T87" fmla="*/ 790 h 1328"/>
                <a:gd name="T88" fmla="*/ 1331 w 2388"/>
                <a:gd name="T89" fmla="*/ 902 h 1328"/>
                <a:gd name="T90" fmla="*/ 1448 w 2388"/>
                <a:gd name="T91" fmla="*/ 934 h 1328"/>
                <a:gd name="T92" fmla="*/ 1505 w 2388"/>
                <a:gd name="T93" fmla="*/ 793 h 1328"/>
                <a:gd name="T94" fmla="*/ 869 w 2388"/>
                <a:gd name="T95" fmla="*/ 1000 h 1328"/>
                <a:gd name="T96" fmla="*/ 984 w 2388"/>
                <a:gd name="T97" fmla="*/ 892 h 1328"/>
                <a:gd name="T98" fmla="*/ 991 w 2388"/>
                <a:gd name="T99" fmla="*/ 1050 h 1328"/>
                <a:gd name="T100" fmla="*/ 1038 w 2388"/>
                <a:gd name="T101" fmla="*/ 1157 h 1328"/>
                <a:gd name="T102" fmla="*/ 881 w 2388"/>
                <a:gd name="T103" fmla="*/ 779 h 1328"/>
                <a:gd name="T104" fmla="*/ 744 w 2388"/>
                <a:gd name="T105" fmla="*/ 937 h 1328"/>
                <a:gd name="T106" fmla="*/ 833 w 2388"/>
                <a:gd name="T107" fmla="*/ 1149 h 1328"/>
                <a:gd name="T108" fmla="*/ 498 w 2388"/>
                <a:gd name="T109" fmla="*/ 898 h 1328"/>
                <a:gd name="T110" fmla="*/ 610 w 2388"/>
                <a:gd name="T111" fmla="*/ 962 h 1328"/>
                <a:gd name="T112" fmla="*/ 641 w 2388"/>
                <a:gd name="T113" fmla="*/ 782 h 1328"/>
                <a:gd name="T114" fmla="*/ 233 w 2388"/>
                <a:gd name="T115" fmla="*/ 1168 h 1328"/>
                <a:gd name="T116" fmla="*/ 193 w 2388"/>
                <a:gd name="T117" fmla="*/ 1055 h 1328"/>
                <a:gd name="T118" fmla="*/ 145 w 2388"/>
                <a:gd name="T119" fmla="*/ 921 h 1328"/>
                <a:gd name="T120" fmla="*/ 317 w 2388"/>
                <a:gd name="T121" fmla="*/ 797 h 1328"/>
                <a:gd name="T122" fmla="*/ 54 w 2388"/>
                <a:gd name="T123" fmla="*/ 843 h 1328"/>
                <a:gd name="T124" fmla="*/ 32 w 2388"/>
                <a:gd name="T125" fmla="*/ 1070 h 1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88" h="1328">
                  <a:moveTo>
                    <a:pt x="2201" y="264"/>
                  </a:moveTo>
                  <a:lnTo>
                    <a:pt x="2208" y="264"/>
                  </a:lnTo>
                  <a:lnTo>
                    <a:pt x="2216" y="265"/>
                  </a:lnTo>
                  <a:lnTo>
                    <a:pt x="2222" y="266"/>
                  </a:lnTo>
                  <a:lnTo>
                    <a:pt x="2228" y="268"/>
                  </a:lnTo>
                  <a:lnTo>
                    <a:pt x="2234" y="270"/>
                  </a:lnTo>
                  <a:lnTo>
                    <a:pt x="2239" y="273"/>
                  </a:lnTo>
                  <a:lnTo>
                    <a:pt x="2245" y="278"/>
                  </a:lnTo>
                  <a:lnTo>
                    <a:pt x="2250" y="282"/>
                  </a:lnTo>
                  <a:lnTo>
                    <a:pt x="2255" y="286"/>
                  </a:lnTo>
                  <a:lnTo>
                    <a:pt x="2258" y="291"/>
                  </a:lnTo>
                  <a:lnTo>
                    <a:pt x="2262" y="296"/>
                  </a:lnTo>
                  <a:lnTo>
                    <a:pt x="2265" y="302"/>
                  </a:lnTo>
                  <a:lnTo>
                    <a:pt x="2268" y="310"/>
                  </a:lnTo>
                  <a:lnTo>
                    <a:pt x="2270" y="316"/>
                  </a:lnTo>
                  <a:lnTo>
                    <a:pt x="2271" y="323"/>
                  </a:lnTo>
                  <a:lnTo>
                    <a:pt x="2272" y="332"/>
                  </a:lnTo>
                  <a:lnTo>
                    <a:pt x="2124" y="332"/>
                  </a:lnTo>
                  <a:lnTo>
                    <a:pt x="2125" y="323"/>
                  </a:lnTo>
                  <a:lnTo>
                    <a:pt x="2127" y="315"/>
                  </a:lnTo>
                  <a:lnTo>
                    <a:pt x="2130" y="308"/>
                  </a:lnTo>
                  <a:lnTo>
                    <a:pt x="2132" y="300"/>
                  </a:lnTo>
                  <a:lnTo>
                    <a:pt x="2137" y="294"/>
                  </a:lnTo>
                  <a:lnTo>
                    <a:pt x="2140" y="289"/>
                  </a:lnTo>
                  <a:lnTo>
                    <a:pt x="2145" y="284"/>
                  </a:lnTo>
                  <a:lnTo>
                    <a:pt x="2149" y="280"/>
                  </a:lnTo>
                  <a:lnTo>
                    <a:pt x="2154" y="275"/>
                  </a:lnTo>
                  <a:lnTo>
                    <a:pt x="2160" y="272"/>
                  </a:lnTo>
                  <a:lnTo>
                    <a:pt x="2167" y="270"/>
                  </a:lnTo>
                  <a:lnTo>
                    <a:pt x="2173" y="267"/>
                  </a:lnTo>
                  <a:lnTo>
                    <a:pt x="2179" y="266"/>
                  </a:lnTo>
                  <a:lnTo>
                    <a:pt x="2186" y="264"/>
                  </a:lnTo>
                  <a:lnTo>
                    <a:pt x="2194" y="264"/>
                  </a:lnTo>
                  <a:lnTo>
                    <a:pt x="2201" y="264"/>
                  </a:lnTo>
                  <a:close/>
                  <a:moveTo>
                    <a:pt x="2205" y="179"/>
                  </a:moveTo>
                  <a:lnTo>
                    <a:pt x="2194" y="179"/>
                  </a:lnTo>
                  <a:lnTo>
                    <a:pt x="2183" y="179"/>
                  </a:lnTo>
                  <a:lnTo>
                    <a:pt x="2174" y="180"/>
                  </a:lnTo>
                  <a:lnTo>
                    <a:pt x="2169" y="181"/>
                  </a:lnTo>
                  <a:lnTo>
                    <a:pt x="2164" y="182"/>
                  </a:lnTo>
                  <a:lnTo>
                    <a:pt x="2154" y="184"/>
                  </a:lnTo>
                  <a:lnTo>
                    <a:pt x="2145" y="186"/>
                  </a:lnTo>
                  <a:lnTo>
                    <a:pt x="2136" y="188"/>
                  </a:lnTo>
                  <a:lnTo>
                    <a:pt x="2126" y="191"/>
                  </a:lnTo>
                  <a:lnTo>
                    <a:pt x="2118" y="195"/>
                  </a:lnTo>
                  <a:lnTo>
                    <a:pt x="2110" y="199"/>
                  </a:lnTo>
                  <a:lnTo>
                    <a:pt x="2101" y="203"/>
                  </a:lnTo>
                  <a:lnTo>
                    <a:pt x="2094" y="208"/>
                  </a:lnTo>
                  <a:lnTo>
                    <a:pt x="2087" y="213"/>
                  </a:lnTo>
                  <a:lnTo>
                    <a:pt x="2078" y="218"/>
                  </a:lnTo>
                  <a:lnTo>
                    <a:pt x="2072" y="223"/>
                  </a:lnTo>
                  <a:lnTo>
                    <a:pt x="2065" y="230"/>
                  </a:lnTo>
                  <a:lnTo>
                    <a:pt x="2059" y="237"/>
                  </a:lnTo>
                  <a:lnTo>
                    <a:pt x="2056" y="240"/>
                  </a:lnTo>
                  <a:lnTo>
                    <a:pt x="2052" y="243"/>
                  </a:lnTo>
                  <a:lnTo>
                    <a:pt x="2047" y="250"/>
                  </a:lnTo>
                  <a:lnTo>
                    <a:pt x="2042" y="259"/>
                  </a:lnTo>
                  <a:lnTo>
                    <a:pt x="2037" y="266"/>
                  </a:lnTo>
                  <a:lnTo>
                    <a:pt x="2033" y="274"/>
                  </a:lnTo>
                  <a:lnTo>
                    <a:pt x="2029" y="283"/>
                  </a:lnTo>
                  <a:lnTo>
                    <a:pt x="2024" y="292"/>
                  </a:lnTo>
                  <a:lnTo>
                    <a:pt x="2021" y="301"/>
                  </a:lnTo>
                  <a:lnTo>
                    <a:pt x="2019" y="311"/>
                  </a:lnTo>
                  <a:lnTo>
                    <a:pt x="2016" y="321"/>
                  </a:lnTo>
                  <a:lnTo>
                    <a:pt x="2014" y="332"/>
                  </a:lnTo>
                  <a:lnTo>
                    <a:pt x="2013" y="342"/>
                  </a:lnTo>
                  <a:lnTo>
                    <a:pt x="2012" y="352"/>
                  </a:lnTo>
                  <a:lnTo>
                    <a:pt x="2011" y="364"/>
                  </a:lnTo>
                  <a:lnTo>
                    <a:pt x="2010" y="375"/>
                  </a:lnTo>
                  <a:lnTo>
                    <a:pt x="2011" y="387"/>
                  </a:lnTo>
                  <a:lnTo>
                    <a:pt x="2012" y="397"/>
                  </a:lnTo>
                  <a:lnTo>
                    <a:pt x="2013" y="407"/>
                  </a:lnTo>
                  <a:lnTo>
                    <a:pt x="2014" y="418"/>
                  </a:lnTo>
                  <a:lnTo>
                    <a:pt x="2019" y="438"/>
                  </a:lnTo>
                  <a:lnTo>
                    <a:pt x="2021" y="446"/>
                  </a:lnTo>
                  <a:lnTo>
                    <a:pt x="2025" y="455"/>
                  </a:lnTo>
                  <a:lnTo>
                    <a:pt x="2029" y="464"/>
                  </a:lnTo>
                  <a:lnTo>
                    <a:pt x="2033" y="473"/>
                  </a:lnTo>
                  <a:lnTo>
                    <a:pt x="2038" y="480"/>
                  </a:lnTo>
                  <a:lnTo>
                    <a:pt x="2042" y="488"/>
                  </a:lnTo>
                  <a:lnTo>
                    <a:pt x="2048" y="496"/>
                  </a:lnTo>
                  <a:lnTo>
                    <a:pt x="2053" y="503"/>
                  </a:lnTo>
                  <a:lnTo>
                    <a:pt x="2060" y="510"/>
                  </a:lnTo>
                  <a:lnTo>
                    <a:pt x="2067" y="516"/>
                  </a:lnTo>
                  <a:lnTo>
                    <a:pt x="2074" y="523"/>
                  </a:lnTo>
                  <a:lnTo>
                    <a:pt x="2082" y="529"/>
                  </a:lnTo>
                  <a:lnTo>
                    <a:pt x="2089" y="534"/>
                  </a:lnTo>
                  <a:lnTo>
                    <a:pt x="2097" y="539"/>
                  </a:lnTo>
                  <a:lnTo>
                    <a:pt x="2105" y="545"/>
                  </a:lnTo>
                  <a:lnTo>
                    <a:pt x="2114" y="549"/>
                  </a:lnTo>
                  <a:lnTo>
                    <a:pt x="2122" y="553"/>
                  </a:lnTo>
                  <a:lnTo>
                    <a:pt x="2131" y="556"/>
                  </a:lnTo>
                  <a:lnTo>
                    <a:pt x="2141" y="559"/>
                  </a:lnTo>
                  <a:lnTo>
                    <a:pt x="2151" y="562"/>
                  </a:lnTo>
                  <a:lnTo>
                    <a:pt x="2162" y="564"/>
                  </a:lnTo>
                  <a:lnTo>
                    <a:pt x="2172" y="566"/>
                  </a:lnTo>
                  <a:lnTo>
                    <a:pt x="2182" y="567"/>
                  </a:lnTo>
                  <a:lnTo>
                    <a:pt x="2193" y="568"/>
                  </a:lnTo>
                  <a:lnTo>
                    <a:pt x="2204" y="569"/>
                  </a:lnTo>
                  <a:lnTo>
                    <a:pt x="2217" y="571"/>
                  </a:lnTo>
                  <a:lnTo>
                    <a:pt x="2228" y="569"/>
                  </a:lnTo>
                  <a:lnTo>
                    <a:pt x="2239" y="569"/>
                  </a:lnTo>
                  <a:lnTo>
                    <a:pt x="2250" y="568"/>
                  </a:lnTo>
                  <a:lnTo>
                    <a:pt x="2261" y="566"/>
                  </a:lnTo>
                  <a:lnTo>
                    <a:pt x="2272" y="565"/>
                  </a:lnTo>
                  <a:lnTo>
                    <a:pt x="2281" y="563"/>
                  </a:lnTo>
                  <a:lnTo>
                    <a:pt x="2301" y="557"/>
                  </a:lnTo>
                  <a:lnTo>
                    <a:pt x="2319" y="551"/>
                  </a:lnTo>
                  <a:lnTo>
                    <a:pt x="2337" y="544"/>
                  </a:lnTo>
                  <a:lnTo>
                    <a:pt x="2353" y="536"/>
                  </a:lnTo>
                  <a:lnTo>
                    <a:pt x="2368" y="527"/>
                  </a:lnTo>
                  <a:lnTo>
                    <a:pt x="2325" y="436"/>
                  </a:lnTo>
                  <a:lnTo>
                    <a:pt x="2315" y="442"/>
                  </a:lnTo>
                  <a:lnTo>
                    <a:pt x="2305" y="448"/>
                  </a:lnTo>
                  <a:lnTo>
                    <a:pt x="2292" y="453"/>
                  </a:lnTo>
                  <a:lnTo>
                    <a:pt x="2279" y="458"/>
                  </a:lnTo>
                  <a:lnTo>
                    <a:pt x="2273" y="461"/>
                  </a:lnTo>
                  <a:lnTo>
                    <a:pt x="2265" y="464"/>
                  </a:lnTo>
                  <a:lnTo>
                    <a:pt x="2250" y="467"/>
                  </a:lnTo>
                  <a:lnTo>
                    <a:pt x="2243" y="468"/>
                  </a:lnTo>
                  <a:lnTo>
                    <a:pt x="2234" y="469"/>
                  </a:lnTo>
                  <a:lnTo>
                    <a:pt x="2218" y="470"/>
                  </a:lnTo>
                  <a:lnTo>
                    <a:pt x="2208" y="470"/>
                  </a:lnTo>
                  <a:lnTo>
                    <a:pt x="2200" y="469"/>
                  </a:lnTo>
                  <a:lnTo>
                    <a:pt x="2192" y="468"/>
                  </a:lnTo>
                  <a:lnTo>
                    <a:pt x="2183" y="466"/>
                  </a:lnTo>
                  <a:lnTo>
                    <a:pt x="2176" y="464"/>
                  </a:lnTo>
                  <a:lnTo>
                    <a:pt x="2169" y="460"/>
                  </a:lnTo>
                  <a:lnTo>
                    <a:pt x="2162" y="457"/>
                  </a:lnTo>
                  <a:lnTo>
                    <a:pt x="2155" y="453"/>
                  </a:lnTo>
                  <a:lnTo>
                    <a:pt x="2149" y="449"/>
                  </a:lnTo>
                  <a:lnTo>
                    <a:pt x="2144" y="444"/>
                  </a:lnTo>
                  <a:lnTo>
                    <a:pt x="2139" y="439"/>
                  </a:lnTo>
                  <a:lnTo>
                    <a:pt x="2135" y="432"/>
                  </a:lnTo>
                  <a:lnTo>
                    <a:pt x="2131" y="426"/>
                  </a:lnTo>
                  <a:lnTo>
                    <a:pt x="2128" y="419"/>
                  </a:lnTo>
                  <a:lnTo>
                    <a:pt x="2125" y="411"/>
                  </a:lnTo>
                  <a:lnTo>
                    <a:pt x="2123" y="402"/>
                  </a:lnTo>
                  <a:lnTo>
                    <a:pt x="2388" y="402"/>
                  </a:lnTo>
                  <a:lnTo>
                    <a:pt x="2388" y="375"/>
                  </a:lnTo>
                  <a:lnTo>
                    <a:pt x="2387" y="363"/>
                  </a:lnTo>
                  <a:lnTo>
                    <a:pt x="2387" y="351"/>
                  </a:lnTo>
                  <a:lnTo>
                    <a:pt x="2386" y="340"/>
                  </a:lnTo>
                  <a:lnTo>
                    <a:pt x="2384" y="328"/>
                  </a:lnTo>
                  <a:lnTo>
                    <a:pt x="2382" y="318"/>
                  </a:lnTo>
                  <a:lnTo>
                    <a:pt x="2380" y="308"/>
                  </a:lnTo>
                  <a:lnTo>
                    <a:pt x="2378" y="298"/>
                  </a:lnTo>
                  <a:lnTo>
                    <a:pt x="2375" y="288"/>
                  </a:lnTo>
                  <a:lnTo>
                    <a:pt x="2371" y="280"/>
                  </a:lnTo>
                  <a:lnTo>
                    <a:pt x="2367" y="270"/>
                  </a:lnTo>
                  <a:lnTo>
                    <a:pt x="2364" y="262"/>
                  </a:lnTo>
                  <a:lnTo>
                    <a:pt x="2359" y="255"/>
                  </a:lnTo>
                  <a:lnTo>
                    <a:pt x="2355" y="247"/>
                  </a:lnTo>
                  <a:lnTo>
                    <a:pt x="2350" y="240"/>
                  </a:lnTo>
                  <a:lnTo>
                    <a:pt x="2343" y="233"/>
                  </a:lnTo>
                  <a:lnTo>
                    <a:pt x="2338" y="227"/>
                  </a:lnTo>
                  <a:lnTo>
                    <a:pt x="2332" y="221"/>
                  </a:lnTo>
                  <a:lnTo>
                    <a:pt x="2325" y="215"/>
                  </a:lnTo>
                  <a:lnTo>
                    <a:pt x="2318" y="210"/>
                  </a:lnTo>
                  <a:lnTo>
                    <a:pt x="2311" y="206"/>
                  </a:lnTo>
                  <a:lnTo>
                    <a:pt x="2304" y="202"/>
                  </a:lnTo>
                  <a:lnTo>
                    <a:pt x="2297" y="198"/>
                  </a:lnTo>
                  <a:lnTo>
                    <a:pt x="2288" y="193"/>
                  </a:lnTo>
                  <a:lnTo>
                    <a:pt x="2280" y="190"/>
                  </a:lnTo>
                  <a:lnTo>
                    <a:pt x="2272" y="187"/>
                  </a:lnTo>
                  <a:lnTo>
                    <a:pt x="2268" y="186"/>
                  </a:lnTo>
                  <a:lnTo>
                    <a:pt x="2263" y="185"/>
                  </a:lnTo>
                  <a:lnTo>
                    <a:pt x="2254" y="183"/>
                  </a:lnTo>
                  <a:lnTo>
                    <a:pt x="2245" y="181"/>
                  </a:lnTo>
                  <a:lnTo>
                    <a:pt x="2235" y="180"/>
                  </a:lnTo>
                  <a:lnTo>
                    <a:pt x="2225" y="179"/>
                  </a:lnTo>
                  <a:lnTo>
                    <a:pt x="2205" y="179"/>
                  </a:lnTo>
                  <a:close/>
                  <a:moveTo>
                    <a:pt x="1743" y="0"/>
                  </a:moveTo>
                  <a:lnTo>
                    <a:pt x="1622" y="0"/>
                  </a:lnTo>
                  <a:lnTo>
                    <a:pt x="1622" y="558"/>
                  </a:lnTo>
                  <a:lnTo>
                    <a:pt x="1743" y="558"/>
                  </a:lnTo>
                  <a:lnTo>
                    <a:pt x="1743" y="373"/>
                  </a:lnTo>
                  <a:lnTo>
                    <a:pt x="1743" y="362"/>
                  </a:lnTo>
                  <a:lnTo>
                    <a:pt x="1744" y="350"/>
                  </a:lnTo>
                  <a:lnTo>
                    <a:pt x="1746" y="341"/>
                  </a:lnTo>
                  <a:lnTo>
                    <a:pt x="1747" y="336"/>
                  </a:lnTo>
                  <a:lnTo>
                    <a:pt x="1748" y="332"/>
                  </a:lnTo>
                  <a:lnTo>
                    <a:pt x="1751" y="323"/>
                  </a:lnTo>
                  <a:lnTo>
                    <a:pt x="1754" y="316"/>
                  </a:lnTo>
                  <a:lnTo>
                    <a:pt x="1758" y="310"/>
                  </a:lnTo>
                  <a:lnTo>
                    <a:pt x="1762" y="303"/>
                  </a:lnTo>
                  <a:lnTo>
                    <a:pt x="1768" y="299"/>
                  </a:lnTo>
                  <a:lnTo>
                    <a:pt x="1773" y="295"/>
                  </a:lnTo>
                  <a:lnTo>
                    <a:pt x="1779" y="291"/>
                  </a:lnTo>
                  <a:lnTo>
                    <a:pt x="1785" y="288"/>
                  </a:lnTo>
                  <a:lnTo>
                    <a:pt x="1792" y="286"/>
                  </a:lnTo>
                  <a:lnTo>
                    <a:pt x="1799" y="285"/>
                  </a:lnTo>
                  <a:lnTo>
                    <a:pt x="1806" y="284"/>
                  </a:lnTo>
                  <a:lnTo>
                    <a:pt x="1813" y="284"/>
                  </a:lnTo>
                  <a:lnTo>
                    <a:pt x="1822" y="284"/>
                  </a:lnTo>
                  <a:lnTo>
                    <a:pt x="1829" y="285"/>
                  </a:lnTo>
                  <a:lnTo>
                    <a:pt x="1836" y="286"/>
                  </a:lnTo>
                  <a:lnTo>
                    <a:pt x="1842" y="288"/>
                  </a:lnTo>
                  <a:lnTo>
                    <a:pt x="1849" y="291"/>
                  </a:lnTo>
                  <a:lnTo>
                    <a:pt x="1854" y="294"/>
                  </a:lnTo>
                  <a:lnTo>
                    <a:pt x="1859" y="298"/>
                  </a:lnTo>
                  <a:lnTo>
                    <a:pt x="1861" y="300"/>
                  </a:lnTo>
                  <a:lnTo>
                    <a:pt x="1863" y="302"/>
                  </a:lnTo>
                  <a:lnTo>
                    <a:pt x="1867" y="308"/>
                  </a:lnTo>
                  <a:lnTo>
                    <a:pt x="1871" y="314"/>
                  </a:lnTo>
                  <a:lnTo>
                    <a:pt x="1874" y="320"/>
                  </a:lnTo>
                  <a:lnTo>
                    <a:pt x="1877" y="327"/>
                  </a:lnTo>
                  <a:lnTo>
                    <a:pt x="1878" y="336"/>
                  </a:lnTo>
                  <a:lnTo>
                    <a:pt x="1880" y="344"/>
                  </a:lnTo>
                  <a:lnTo>
                    <a:pt x="1880" y="353"/>
                  </a:lnTo>
                  <a:lnTo>
                    <a:pt x="1881" y="364"/>
                  </a:lnTo>
                  <a:lnTo>
                    <a:pt x="1881" y="558"/>
                  </a:lnTo>
                  <a:lnTo>
                    <a:pt x="2001" y="558"/>
                  </a:lnTo>
                  <a:lnTo>
                    <a:pt x="2001" y="329"/>
                  </a:lnTo>
                  <a:lnTo>
                    <a:pt x="2000" y="320"/>
                  </a:lnTo>
                  <a:lnTo>
                    <a:pt x="2000" y="311"/>
                  </a:lnTo>
                  <a:lnTo>
                    <a:pt x="1999" y="301"/>
                  </a:lnTo>
                  <a:lnTo>
                    <a:pt x="1998" y="293"/>
                  </a:lnTo>
                  <a:lnTo>
                    <a:pt x="1996" y="285"/>
                  </a:lnTo>
                  <a:lnTo>
                    <a:pt x="1995" y="276"/>
                  </a:lnTo>
                  <a:lnTo>
                    <a:pt x="1991" y="262"/>
                  </a:lnTo>
                  <a:lnTo>
                    <a:pt x="1988" y="255"/>
                  </a:lnTo>
                  <a:lnTo>
                    <a:pt x="1985" y="247"/>
                  </a:lnTo>
                  <a:lnTo>
                    <a:pt x="1979" y="235"/>
                  </a:lnTo>
                  <a:lnTo>
                    <a:pt x="1976" y="230"/>
                  </a:lnTo>
                  <a:lnTo>
                    <a:pt x="1971" y="225"/>
                  </a:lnTo>
                  <a:lnTo>
                    <a:pt x="1967" y="219"/>
                  </a:lnTo>
                  <a:lnTo>
                    <a:pt x="1962" y="214"/>
                  </a:lnTo>
                  <a:lnTo>
                    <a:pt x="1957" y="210"/>
                  </a:lnTo>
                  <a:lnTo>
                    <a:pt x="1953" y="206"/>
                  </a:lnTo>
                  <a:lnTo>
                    <a:pt x="1941" y="198"/>
                  </a:lnTo>
                  <a:lnTo>
                    <a:pt x="1936" y="194"/>
                  </a:lnTo>
                  <a:lnTo>
                    <a:pt x="1931" y="191"/>
                  </a:lnTo>
                  <a:lnTo>
                    <a:pt x="1918" y="186"/>
                  </a:lnTo>
                  <a:lnTo>
                    <a:pt x="1912" y="184"/>
                  </a:lnTo>
                  <a:lnTo>
                    <a:pt x="1906" y="183"/>
                  </a:lnTo>
                  <a:lnTo>
                    <a:pt x="1891" y="180"/>
                  </a:lnTo>
                  <a:lnTo>
                    <a:pt x="1885" y="179"/>
                  </a:lnTo>
                  <a:lnTo>
                    <a:pt x="1878" y="178"/>
                  </a:lnTo>
                  <a:lnTo>
                    <a:pt x="1862" y="178"/>
                  </a:lnTo>
                  <a:lnTo>
                    <a:pt x="1853" y="178"/>
                  </a:lnTo>
                  <a:lnTo>
                    <a:pt x="1844" y="179"/>
                  </a:lnTo>
                  <a:lnTo>
                    <a:pt x="1834" y="180"/>
                  </a:lnTo>
                  <a:lnTo>
                    <a:pt x="1825" y="182"/>
                  </a:lnTo>
                  <a:lnTo>
                    <a:pt x="1817" y="184"/>
                  </a:lnTo>
                  <a:lnTo>
                    <a:pt x="1808" y="186"/>
                  </a:lnTo>
                  <a:lnTo>
                    <a:pt x="1801" y="189"/>
                  </a:lnTo>
                  <a:lnTo>
                    <a:pt x="1793" y="193"/>
                  </a:lnTo>
                  <a:lnTo>
                    <a:pt x="1785" y="198"/>
                  </a:lnTo>
                  <a:lnTo>
                    <a:pt x="1779" y="202"/>
                  </a:lnTo>
                  <a:lnTo>
                    <a:pt x="1772" y="207"/>
                  </a:lnTo>
                  <a:lnTo>
                    <a:pt x="1766" y="212"/>
                  </a:lnTo>
                  <a:lnTo>
                    <a:pt x="1760" y="218"/>
                  </a:lnTo>
                  <a:lnTo>
                    <a:pt x="1754" y="225"/>
                  </a:lnTo>
                  <a:lnTo>
                    <a:pt x="1744" y="238"/>
                  </a:lnTo>
                  <a:lnTo>
                    <a:pt x="1743" y="238"/>
                  </a:lnTo>
                  <a:lnTo>
                    <a:pt x="1743" y="0"/>
                  </a:lnTo>
                  <a:close/>
                  <a:moveTo>
                    <a:pt x="1611" y="290"/>
                  </a:moveTo>
                  <a:lnTo>
                    <a:pt x="1611" y="189"/>
                  </a:lnTo>
                  <a:lnTo>
                    <a:pt x="1535" y="189"/>
                  </a:lnTo>
                  <a:lnTo>
                    <a:pt x="1535" y="42"/>
                  </a:lnTo>
                  <a:lnTo>
                    <a:pt x="1414" y="42"/>
                  </a:lnTo>
                  <a:lnTo>
                    <a:pt x="1414" y="189"/>
                  </a:lnTo>
                  <a:lnTo>
                    <a:pt x="1343" y="189"/>
                  </a:lnTo>
                  <a:lnTo>
                    <a:pt x="1343" y="290"/>
                  </a:lnTo>
                  <a:lnTo>
                    <a:pt x="1414" y="290"/>
                  </a:lnTo>
                  <a:lnTo>
                    <a:pt x="1414" y="433"/>
                  </a:lnTo>
                  <a:lnTo>
                    <a:pt x="1414" y="442"/>
                  </a:lnTo>
                  <a:lnTo>
                    <a:pt x="1415" y="450"/>
                  </a:lnTo>
                  <a:lnTo>
                    <a:pt x="1417" y="465"/>
                  </a:lnTo>
                  <a:lnTo>
                    <a:pt x="1420" y="478"/>
                  </a:lnTo>
                  <a:lnTo>
                    <a:pt x="1424" y="491"/>
                  </a:lnTo>
                  <a:lnTo>
                    <a:pt x="1426" y="497"/>
                  </a:lnTo>
                  <a:lnTo>
                    <a:pt x="1428" y="502"/>
                  </a:lnTo>
                  <a:lnTo>
                    <a:pt x="1434" y="512"/>
                  </a:lnTo>
                  <a:lnTo>
                    <a:pt x="1440" y="521"/>
                  </a:lnTo>
                  <a:lnTo>
                    <a:pt x="1444" y="525"/>
                  </a:lnTo>
                  <a:lnTo>
                    <a:pt x="1449" y="529"/>
                  </a:lnTo>
                  <a:lnTo>
                    <a:pt x="1457" y="536"/>
                  </a:lnTo>
                  <a:lnTo>
                    <a:pt x="1466" y="541"/>
                  </a:lnTo>
                  <a:lnTo>
                    <a:pt x="1472" y="545"/>
                  </a:lnTo>
                  <a:lnTo>
                    <a:pt x="1477" y="547"/>
                  </a:lnTo>
                  <a:lnTo>
                    <a:pt x="1487" y="551"/>
                  </a:lnTo>
                  <a:lnTo>
                    <a:pt x="1493" y="553"/>
                  </a:lnTo>
                  <a:lnTo>
                    <a:pt x="1499" y="554"/>
                  </a:lnTo>
                  <a:lnTo>
                    <a:pt x="1511" y="556"/>
                  </a:lnTo>
                  <a:lnTo>
                    <a:pt x="1525" y="558"/>
                  </a:lnTo>
                  <a:lnTo>
                    <a:pt x="1538" y="558"/>
                  </a:lnTo>
                  <a:lnTo>
                    <a:pt x="1589" y="558"/>
                  </a:lnTo>
                  <a:lnTo>
                    <a:pt x="1589" y="447"/>
                  </a:lnTo>
                  <a:lnTo>
                    <a:pt x="1575" y="447"/>
                  </a:lnTo>
                  <a:lnTo>
                    <a:pt x="1569" y="447"/>
                  </a:lnTo>
                  <a:lnTo>
                    <a:pt x="1564" y="446"/>
                  </a:lnTo>
                  <a:lnTo>
                    <a:pt x="1560" y="445"/>
                  </a:lnTo>
                  <a:lnTo>
                    <a:pt x="1556" y="444"/>
                  </a:lnTo>
                  <a:lnTo>
                    <a:pt x="1552" y="443"/>
                  </a:lnTo>
                  <a:lnTo>
                    <a:pt x="1548" y="441"/>
                  </a:lnTo>
                  <a:lnTo>
                    <a:pt x="1545" y="439"/>
                  </a:lnTo>
                  <a:lnTo>
                    <a:pt x="1543" y="436"/>
                  </a:lnTo>
                  <a:lnTo>
                    <a:pt x="1541" y="433"/>
                  </a:lnTo>
                  <a:lnTo>
                    <a:pt x="1539" y="430"/>
                  </a:lnTo>
                  <a:lnTo>
                    <a:pt x="1538" y="427"/>
                  </a:lnTo>
                  <a:lnTo>
                    <a:pt x="1537" y="423"/>
                  </a:lnTo>
                  <a:lnTo>
                    <a:pt x="1536" y="418"/>
                  </a:lnTo>
                  <a:lnTo>
                    <a:pt x="1535" y="413"/>
                  </a:lnTo>
                  <a:lnTo>
                    <a:pt x="1535" y="407"/>
                  </a:lnTo>
                  <a:lnTo>
                    <a:pt x="1535" y="401"/>
                  </a:lnTo>
                  <a:lnTo>
                    <a:pt x="1535" y="290"/>
                  </a:lnTo>
                  <a:lnTo>
                    <a:pt x="1611" y="290"/>
                  </a:lnTo>
                  <a:close/>
                  <a:moveTo>
                    <a:pt x="1033" y="178"/>
                  </a:moveTo>
                  <a:lnTo>
                    <a:pt x="1023" y="178"/>
                  </a:lnTo>
                  <a:lnTo>
                    <a:pt x="1013" y="179"/>
                  </a:lnTo>
                  <a:lnTo>
                    <a:pt x="1004" y="180"/>
                  </a:lnTo>
                  <a:lnTo>
                    <a:pt x="996" y="182"/>
                  </a:lnTo>
                  <a:lnTo>
                    <a:pt x="987" y="185"/>
                  </a:lnTo>
                  <a:lnTo>
                    <a:pt x="983" y="186"/>
                  </a:lnTo>
                  <a:lnTo>
                    <a:pt x="979" y="187"/>
                  </a:lnTo>
                  <a:lnTo>
                    <a:pt x="971" y="191"/>
                  </a:lnTo>
                  <a:lnTo>
                    <a:pt x="962" y="195"/>
                  </a:lnTo>
                  <a:lnTo>
                    <a:pt x="955" y="200"/>
                  </a:lnTo>
                  <a:lnTo>
                    <a:pt x="948" y="205"/>
                  </a:lnTo>
                  <a:lnTo>
                    <a:pt x="940" y="211"/>
                  </a:lnTo>
                  <a:lnTo>
                    <a:pt x="934" y="216"/>
                  </a:lnTo>
                  <a:lnTo>
                    <a:pt x="928" y="223"/>
                  </a:lnTo>
                  <a:lnTo>
                    <a:pt x="923" y="230"/>
                  </a:lnTo>
                  <a:lnTo>
                    <a:pt x="917" y="237"/>
                  </a:lnTo>
                  <a:lnTo>
                    <a:pt x="912" y="245"/>
                  </a:lnTo>
                  <a:lnTo>
                    <a:pt x="910" y="245"/>
                  </a:lnTo>
                  <a:lnTo>
                    <a:pt x="910" y="189"/>
                  </a:lnTo>
                  <a:lnTo>
                    <a:pt x="793" y="189"/>
                  </a:lnTo>
                  <a:lnTo>
                    <a:pt x="793" y="558"/>
                  </a:lnTo>
                  <a:lnTo>
                    <a:pt x="912" y="558"/>
                  </a:lnTo>
                  <a:lnTo>
                    <a:pt x="912" y="373"/>
                  </a:lnTo>
                  <a:lnTo>
                    <a:pt x="913" y="362"/>
                  </a:lnTo>
                  <a:lnTo>
                    <a:pt x="914" y="350"/>
                  </a:lnTo>
                  <a:lnTo>
                    <a:pt x="916" y="341"/>
                  </a:lnTo>
                  <a:lnTo>
                    <a:pt x="917" y="336"/>
                  </a:lnTo>
                  <a:lnTo>
                    <a:pt x="919" y="332"/>
                  </a:lnTo>
                  <a:lnTo>
                    <a:pt x="921" y="323"/>
                  </a:lnTo>
                  <a:lnTo>
                    <a:pt x="925" y="316"/>
                  </a:lnTo>
                  <a:lnTo>
                    <a:pt x="928" y="310"/>
                  </a:lnTo>
                  <a:lnTo>
                    <a:pt x="933" y="303"/>
                  </a:lnTo>
                  <a:lnTo>
                    <a:pt x="938" y="299"/>
                  </a:lnTo>
                  <a:lnTo>
                    <a:pt x="944" y="295"/>
                  </a:lnTo>
                  <a:lnTo>
                    <a:pt x="950" y="291"/>
                  </a:lnTo>
                  <a:lnTo>
                    <a:pt x="956" y="288"/>
                  </a:lnTo>
                  <a:lnTo>
                    <a:pt x="962" y="286"/>
                  </a:lnTo>
                  <a:lnTo>
                    <a:pt x="969" y="285"/>
                  </a:lnTo>
                  <a:lnTo>
                    <a:pt x="976" y="284"/>
                  </a:lnTo>
                  <a:lnTo>
                    <a:pt x="984" y="284"/>
                  </a:lnTo>
                  <a:lnTo>
                    <a:pt x="992" y="284"/>
                  </a:lnTo>
                  <a:lnTo>
                    <a:pt x="1000" y="285"/>
                  </a:lnTo>
                  <a:lnTo>
                    <a:pt x="1003" y="286"/>
                  </a:lnTo>
                  <a:lnTo>
                    <a:pt x="1007" y="286"/>
                  </a:lnTo>
                  <a:lnTo>
                    <a:pt x="1013" y="288"/>
                  </a:lnTo>
                  <a:lnTo>
                    <a:pt x="1019" y="291"/>
                  </a:lnTo>
                  <a:lnTo>
                    <a:pt x="1025" y="294"/>
                  </a:lnTo>
                  <a:lnTo>
                    <a:pt x="1030" y="298"/>
                  </a:lnTo>
                  <a:lnTo>
                    <a:pt x="1032" y="300"/>
                  </a:lnTo>
                  <a:lnTo>
                    <a:pt x="1035" y="302"/>
                  </a:lnTo>
                  <a:lnTo>
                    <a:pt x="1038" y="308"/>
                  </a:lnTo>
                  <a:lnTo>
                    <a:pt x="1042" y="314"/>
                  </a:lnTo>
                  <a:lnTo>
                    <a:pt x="1045" y="320"/>
                  </a:lnTo>
                  <a:lnTo>
                    <a:pt x="1046" y="324"/>
                  </a:lnTo>
                  <a:lnTo>
                    <a:pt x="1048" y="327"/>
                  </a:lnTo>
                  <a:lnTo>
                    <a:pt x="1050" y="336"/>
                  </a:lnTo>
                  <a:lnTo>
                    <a:pt x="1051" y="344"/>
                  </a:lnTo>
                  <a:lnTo>
                    <a:pt x="1052" y="353"/>
                  </a:lnTo>
                  <a:lnTo>
                    <a:pt x="1052" y="364"/>
                  </a:lnTo>
                  <a:lnTo>
                    <a:pt x="1052" y="558"/>
                  </a:lnTo>
                  <a:lnTo>
                    <a:pt x="1171" y="558"/>
                  </a:lnTo>
                  <a:lnTo>
                    <a:pt x="1171" y="329"/>
                  </a:lnTo>
                  <a:lnTo>
                    <a:pt x="1171" y="320"/>
                  </a:lnTo>
                  <a:lnTo>
                    <a:pt x="1170" y="311"/>
                  </a:lnTo>
                  <a:lnTo>
                    <a:pt x="1170" y="301"/>
                  </a:lnTo>
                  <a:lnTo>
                    <a:pt x="1169" y="293"/>
                  </a:lnTo>
                  <a:lnTo>
                    <a:pt x="1167" y="285"/>
                  </a:lnTo>
                  <a:lnTo>
                    <a:pt x="1165" y="276"/>
                  </a:lnTo>
                  <a:lnTo>
                    <a:pt x="1161" y="262"/>
                  </a:lnTo>
                  <a:lnTo>
                    <a:pt x="1159" y="255"/>
                  </a:lnTo>
                  <a:lnTo>
                    <a:pt x="1156" y="247"/>
                  </a:lnTo>
                  <a:lnTo>
                    <a:pt x="1149" y="235"/>
                  </a:lnTo>
                  <a:lnTo>
                    <a:pt x="1145" y="230"/>
                  </a:lnTo>
                  <a:lnTo>
                    <a:pt x="1141" y="225"/>
                  </a:lnTo>
                  <a:lnTo>
                    <a:pt x="1137" y="219"/>
                  </a:lnTo>
                  <a:lnTo>
                    <a:pt x="1133" y="214"/>
                  </a:lnTo>
                  <a:lnTo>
                    <a:pt x="1128" y="210"/>
                  </a:lnTo>
                  <a:lnTo>
                    <a:pt x="1122" y="206"/>
                  </a:lnTo>
                  <a:lnTo>
                    <a:pt x="1112" y="198"/>
                  </a:lnTo>
                  <a:lnTo>
                    <a:pt x="1107" y="194"/>
                  </a:lnTo>
                  <a:lnTo>
                    <a:pt x="1101" y="191"/>
                  </a:lnTo>
                  <a:lnTo>
                    <a:pt x="1089" y="186"/>
                  </a:lnTo>
                  <a:lnTo>
                    <a:pt x="1082" y="184"/>
                  </a:lnTo>
                  <a:lnTo>
                    <a:pt x="1076" y="183"/>
                  </a:lnTo>
                  <a:lnTo>
                    <a:pt x="1062" y="180"/>
                  </a:lnTo>
                  <a:lnTo>
                    <a:pt x="1055" y="179"/>
                  </a:lnTo>
                  <a:lnTo>
                    <a:pt x="1048" y="178"/>
                  </a:lnTo>
                  <a:lnTo>
                    <a:pt x="1033" y="178"/>
                  </a:lnTo>
                  <a:close/>
                  <a:moveTo>
                    <a:pt x="638" y="558"/>
                  </a:moveTo>
                  <a:lnTo>
                    <a:pt x="758" y="558"/>
                  </a:lnTo>
                  <a:lnTo>
                    <a:pt x="758" y="189"/>
                  </a:lnTo>
                  <a:lnTo>
                    <a:pt x="638" y="189"/>
                  </a:lnTo>
                  <a:lnTo>
                    <a:pt x="638" y="558"/>
                  </a:lnTo>
                  <a:close/>
                  <a:moveTo>
                    <a:pt x="762" y="0"/>
                  </a:moveTo>
                  <a:lnTo>
                    <a:pt x="633" y="0"/>
                  </a:lnTo>
                  <a:lnTo>
                    <a:pt x="633" y="122"/>
                  </a:lnTo>
                  <a:lnTo>
                    <a:pt x="762" y="122"/>
                  </a:lnTo>
                  <a:lnTo>
                    <a:pt x="762" y="0"/>
                  </a:lnTo>
                  <a:close/>
                  <a:moveTo>
                    <a:pt x="417" y="288"/>
                  </a:moveTo>
                  <a:lnTo>
                    <a:pt x="425" y="288"/>
                  </a:lnTo>
                  <a:lnTo>
                    <a:pt x="434" y="289"/>
                  </a:lnTo>
                  <a:lnTo>
                    <a:pt x="443" y="291"/>
                  </a:lnTo>
                  <a:lnTo>
                    <a:pt x="450" y="293"/>
                  </a:lnTo>
                  <a:lnTo>
                    <a:pt x="458" y="297"/>
                  </a:lnTo>
                  <a:lnTo>
                    <a:pt x="465" y="300"/>
                  </a:lnTo>
                  <a:lnTo>
                    <a:pt x="472" y="306"/>
                  </a:lnTo>
                  <a:lnTo>
                    <a:pt x="478" y="311"/>
                  </a:lnTo>
                  <a:lnTo>
                    <a:pt x="483" y="317"/>
                  </a:lnTo>
                  <a:lnTo>
                    <a:pt x="488" y="323"/>
                  </a:lnTo>
                  <a:lnTo>
                    <a:pt x="493" y="331"/>
                  </a:lnTo>
                  <a:lnTo>
                    <a:pt x="496" y="338"/>
                  </a:lnTo>
                  <a:lnTo>
                    <a:pt x="499" y="346"/>
                  </a:lnTo>
                  <a:lnTo>
                    <a:pt x="501" y="354"/>
                  </a:lnTo>
                  <a:lnTo>
                    <a:pt x="502" y="364"/>
                  </a:lnTo>
                  <a:lnTo>
                    <a:pt x="503" y="374"/>
                  </a:lnTo>
                  <a:lnTo>
                    <a:pt x="502" y="383"/>
                  </a:lnTo>
                  <a:lnTo>
                    <a:pt x="501" y="393"/>
                  </a:lnTo>
                  <a:lnTo>
                    <a:pt x="499" y="401"/>
                  </a:lnTo>
                  <a:lnTo>
                    <a:pt x="496" y="409"/>
                  </a:lnTo>
                  <a:lnTo>
                    <a:pt x="493" y="417"/>
                  </a:lnTo>
                  <a:lnTo>
                    <a:pt x="488" y="424"/>
                  </a:lnTo>
                  <a:lnTo>
                    <a:pt x="483" y="430"/>
                  </a:lnTo>
                  <a:lnTo>
                    <a:pt x="478" y="436"/>
                  </a:lnTo>
                  <a:lnTo>
                    <a:pt x="472" y="442"/>
                  </a:lnTo>
                  <a:lnTo>
                    <a:pt x="465" y="447"/>
                  </a:lnTo>
                  <a:lnTo>
                    <a:pt x="458" y="451"/>
                  </a:lnTo>
                  <a:lnTo>
                    <a:pt x="450" y="454"/>
                  </a:lnTo>
                  <a:lnTo>
                    <a:pt x="443" y="456"/>
                  </a:lnTo>
                  <a:lnTo>
                    <a:pt x="434" y="458"/>
                  </a:lnTo>
                  <a:lnTo>
                    <a:pt x="425" y="459"/>
                  </a:lnTo>
                  <a:lnTo>
                    <a:pt x="417" y="460"/>
                  </a:lnTo>
                  <a:lnTo>
                    <a:pt x="407" y="459"/>
                  </a:lnTo>
                  <a:lnTo>
                    <a:pt x="399" y="458"/>
                  </a:lnTo>
                  <a:lnTo>
                    <a:pt x="391" y="456"/>
                  </a:lnTo>
                  <a:lnTo>
                    <a:pt x="382" y="454"/>
                  </a:lnTo>
                  <a:lnTo>
                    <a:pt x="375" y="451"/>
                  </a:lnTo>
                  <a:lnTo>
                    <a:pt x="368" y="447"/>
                  </a:lnTo>
                  <a:lnTo>
                    <a:pt x="362" y="442"/>
                  </a:lnTo>
                  <a:lnTo>
                    <a:pt x="355" y="436"/>
                  </a:lnTo>
                  <a:lnTo>
                    <a:pt x="349" y="430"/>
                  </a:lnTo>
                  <a:lnTo>
                    <a:pt x="345" y="424"/>
                  </a:lnTo>
                  <a:lnTo>
                    <a:pt x="341" y="417"/>
                  </a:lnTo>
                  <a:lnTo>
                    <a:pt x="337" y="409"/>
                  </a:lnTo>
                  <a:lnTo>
                    <a:pt x="335" y="401"/>
                  </a:lnTo>
                  <a:lnTo>
                    <a:pt x="333" y="393"/>
                  </a:lnTo>
                  <a:lnTo>
                    <a:pt x="330" y="383"/>
                  </a:lnTo>
                  <a:lnTo>
                    <a:pt x="330" y="374"/>
                  </a:lnTo>
                  <a:lnTo>
                    <a:pt x="330" y="364"/>
                  </a:lnTo>
                  <a:lnTo>
                    <a:pt x="333" y="354"/>
                  </a:lnTo>
                  <a:lnTo>
                    <a:pt x="335" y="346"/>
                  </a:lnTo>
                  <a:lnTo>
                    <a:pt x="337" y="338"/>
                  </a:lnTo>
                  <a:lnTo>
                    <a:pt x="341" y="331"/>
                  </a:lnTo>
                  <a:lnTo>
                    <a:pt x="345" y="323"/>
                  </a:lnTo>
                  <a:lnTo>
                    <a:pt x="349" y="317"/>
                  </a:lnTo>
                  <a:lnTo>
                    <a:pt x="355" y="311"/>
                  </a:lnTo>
                  <a:lnTo>
                    <a:pt x="362" y="306"/>
                  </a:lnTo>
                  <a:lnTo>
                    <a:pt x="368" y="300"/>
                  </a:lnTo>
                  <a:lnTo>
                    <a:pt x="375" y="297"/>
                  </a:lnTo>
                  <a:lnTo>
                    <a:pt x="382" y="293"/>
                  </a:lnTo>
                  <a:lnTo>
                    <a:pt x="391" y="291"/>
                  </a:lnTo>
                  <a:lnTo>
                    <a:pt x="399" y="289"/>
                  </a:lnTo>
                  <a:lnTo>
                    <a:pt x="407" y="288"/>
                  </a:lnTo>
                  <a:lnTo>
                    <a:pt x="417" y="288"/>
                  </a:lnTo>
                  <a:close/>
                  <a:moveTo>
                    <a:pt x="417" y="178"/>
                  </a:moveTo>
                  <a:lnTo>
                    <a:pt x="405" y="178"/>
                  </a:lnTo>
                  <a:lnTo>
                    <a:pt x="394" y="179"/>
                  </a:lnTo>
                  <a:lnTo>
                    <a:pt x="383" y="180"/>
                  </a:lnTo>
                  <a:lnTo>
                    <a:pt x="373" y="181"/>
                  </a:lnTo>
                  <a:lnTo>
                    <a:pt x="363" y="183"/>
                  </a:lnTo>
                  <a:lnTo>
                    <a:pt x="353" y="186"/>
                  </a:lnTo>
                  <a:lnTo>
                    <a:pt x="343" y="188"/>
                  </a:lnTo>
                  <a:lnTo>
                    <a:pt x="334" y="191"/>
                  </a:lnTo>
                  <a:lnTo>
                    <a:pt x="325" y="195"/>
                  </a:lnTo>
                  <a:lnTo>
                    <a:pt x="316" y="200"/>
                  </a:lnTo>
                  <a:lnTo>
                    <a:pt x="308" y="204"/>
                  </a:lnTo>
                  <a:lnTo>
                    <a:pt x="299" y="208"/>
                  </a:lnTo>
                  <a:lnTo>
                    <a:pt x="284" y="219"/>
                  </a:lnTo>
                  <a:lnTo>
                    <a:pt x="275" y="225"/>
                  </a:lnTo>
                  <a:lnTo>
                    <a:pt x="268" y="232"/>
                  </a:lnTo>
                  <a:lnTo>
                    <a:pt x="262" y="238"/>
                  </a:lnTo>
                  <a:lnTo>
                    <a:pt x="255" y="245"/>
                  </a:lnTo>
                  <a:lnTo>
                    <a:pt x="249" y="253"/>
                  </a:lnTo>
                  <a:lnTo>
                    <a:pt x="243" y="260"/>
                  </a:lnTo>
                  <a:lnTo>
                    <a:pt x="238" y="268"/>
                  </a:lnTo>
                  <a:lnTo>
                    <a:pt x="234" y="276"/>
                  </a:lnTo>
                  <a:lnTo>
                    <a:pt x="230" y="285"/>
                  </a:lnTo>
                  <a:lnTo>
                    <a:pt x="226" y="293"/>
                  </a:lnTo>
                  <a:lnTo>
                    <a:pt x="221" y="302"/>
                  </a:lnTo>
                  <a:lnTo>
                    <a:pt x="219" y="312"/>
                  </a:lnTo>
                  <a:lnTo>
                    <a:pt x="216" y="321"/>
                  </a:lnTo>
                  <a:lnTo>
                    <a:pt x="214" y="332"/>
                  </a:lnTo>
                  <a:lnTo>
                    <a:pt x="212" y="341"/>
                  </a:lnTo>
                  <a:lnTo>
                    <a:pt x="211" y="352"/>
                  </a:lnTo>
                  <a:lnTo>
                    <a:pt x="210" y="363"/>
                  </a:lnTo>
                  <a:lnTo>
                    <a:pt x="210" y="374"/>
                  </a:lnTo>
                  <a:lnTo>
                    <a:pt x="210" y="385"/>
                  </a:lnTo>
                  <a:lnTo>
                    <a:pt x="211" y="396"/>
                  </a:lnTo>
                  <a:lnTo>
                    <a:pt x="212" y="406"/>
                  </a:lnTo>
                  <a:lnTo>
                    <a:pt x="214" y="417"/>
                  </a:lnTo>
                  <a:lnTo>
                    <a:pt x="216" y="426"/>
                  </a:lnTo>
                  <a:lnTo>
                    <a:pt x="219" y="435"/>
                  </a:lnTo>
                  <a:lnTo>
                    <a:pt x="221" y="445"/>
                  </a:lnTo>
                  <a:lnTo>
                    <a:pt x="226" y="454"/>
                  </a:lnTo>
                  <a:lnTo>
                    <a:pt x="230" y="464"/>
                  </a:lnTo>
                  <a:lnTo>
                    <a:pt x="234" y="472"/>
                  </a:lnTo>
                  <a:lnTo>
                    <a:pt x="238" y="480"/>
                  </a:lnTo>
                  <a:lnTo>
                    <a:pt x="243" y="487"/>
                  </a:lnTo>
                  <a:lnTo>
                    <a:pt x="249" y="495"/>
                  </a:lnTo>
                  <a:lnTo>
                    <a:pt x="255" y="502"/>
                  </a:lnTo>
                  <a:lnTo>
                    <a:pt x="262" y="509"/>
                  </a:lnTo>
                  <a:lnTo>
                    <a:pt x="268" y="516"/>
                  </a:lnTo>
                  <a:lnTo>
                    <a:pt x="275" y="523"/>
                  </a:lnTo>
                  <a:lnTo>
                    <a:pt x="284" y="529"/>
                  </a:lnTo>
                  <a:lnTo>
                    <a:pt x="291" y="534"/>
                  </a:lnTo>
                  <a:lnTo>
                    <a:pt x="299" y="539"/>
                  </a:lnTo>
                  <a:lnTo>
                    <a:pt x="308" y="545"/>
                  </a:lnTo>
                  <a:lnTo>
                    <a:pt x="316" y="549"/>
                  </a:lnTo>
                  <a:lnTo>
                    <a:pt x="325" y="553"/>
                  </a:lnTo>
                  <a:lnTo>
                    <a:pt x="334" y="556"/>
                  </a:lnTo>
                  <a:lnTo>
                    <a:pt x="343" y="559"/>
                  </a:lnTo>
                  <a:lnTo>
                    <a:pt x="353" y="562"/>
                  </a:lnTo>
                  <a:lnTo>
                    <a:pt x="363" y="564"/>
                  </a:lnTo>
                  <a:lnTo>
                    <a:pt x="373" y="566"/>
                  </a:lnTo>
                  <a:lnTo>
                    <a:pt x="383" y="567"/>
                  </a:lnTo>
                  <a:lnTo>
                    <a:pt x="394" y="568"/>
                  </a:lnTo>
                  <a:lnTo>
                    <a:pt x="405" y="569"/>
                  </a:lnTo>
                  <a:lnTo>
                    <a:pt x="417" y="571"/>
                  </a:lnTo>
                  <a:lnTo>
                    <a:pt x="428" y="569"/>
                  </a:lnTo>
                  <a:lnTo>
                    <a:pt x="439" y="568"/>
                  </a:lnTo>
                  <a:lnTo>
                    <a:pt x="450" y="567"/>
                  </a:lnTo>
                  <a:lnTo>
                    <a:pt x="460" y="566"/>
                  </a:lnTo>
                  <a:lnTo>
                    <a:pt x="471" y="564"/>
                  </a:lnTo>
                  <a:lnTo>
                    <a:pt x="480" y="562"/>
                  </a:lnTo>
                  <a:lnTo>
                    <a:pt x="489" y="559"/>
                  </a:lnTo>
                  <a:lnTo>
                    <a:pt x="499" y="556"/>
                  </a:lnTo>
                  <a:lnTo>
                    <a:pt x="508" y="553"/>
                  </a:lnTo>
                  <a:lnTo>
                    <a:pt x="518" y="549"/>
                  </a:lnTo>
                  <a:lnTo>
                    <a:pt x="526" y="545"/>
                  </a:lnTo>
                  <a:lnTo>
                    <a:pt x="534" y="539"/>
                  </a:lnTo>
                  <a:lnTo>
                    <a:pt x="550" y="529"/>
                  </a:lnTo>
                  <a:lnTo>
                    <a:pt x="558" y="523"/>
                  </a:lnTo>
                  <a:lnTo>
                    <a:pt x="565" y="516"/>
                  </a:lnTo>
                  <a:lnTo>
                    <a:pt x="572" y="509"/>
                  </a:lnTo>
                  <a:lnTo>
                    <a:pt x="579" y="502"/>
                  </a:lnTo>
                  <a:lnTo>
                    <a:pt x="584" y="495"/>
                  </a:lnTo>
                  <a:lnTo>
                    <a:pt x="590" y="487"/>
                  </a:lnTo>
                  <a:lnTo>
                    <a:pt x="595" y="480"/>
                  </a:lnTo>
                  <a:lnTo>
                    <a:pt x="600" y="472"/>
                  </a:lnTo>
                  <a:lnTo>
                    <a:pt x="605" y="464"/>
                  </a:lnTo>
                  <a:lnTo>
                    <a:pt x="608" y="454"/>
                  </a:lnTo>
                  <a:lnTo>
                    <a:pt x="612" y="445"/>
                  </a:lnTo>
                  <a:lnTo>
                    <a:pt x="615" y="435"/>
                  </a:lnTo>
                  <a:lnTo>
                    <a:pt x="617" y="426"/>
                  </a:lnTo>
                  <a:lnTo>
                    <a:pt x="619" y="417"/>
                  </a:lnTo>
                  <a:lnTo>
                    <a:pt x="621" y="406"/>
                  </a:lnTo>
                  <a:lnTo>
                    <a:pt x="622" y="396"/>
                  </a:lnTo>
                  <a:lnTo>
                    <a:pt x="624" y="385"/>
                  </a:lnTo>
                  <a:lnTo>
                    <a:pt x="624" y="374"/>
                  </a:lnTo>
                  <a:lnTo>
                    <a:pt x="624" y="363"/>
                  </a:lnTo>
                  <a:lnTo>
                    <a:pt x="622" y="352"/>
                  </a:lnTo>
                  <a:lnTo>
                    <a:pt x="621" y="341"/>
                  </a:lnTo>
                  <a:lnTo>
                    <a:pt x="619" y="332"/>
                  </a:lnTo>
                  <a:lnTo>
                    <a:pt x="617" y="321"/>
                  </a:lnTo>
                  <a:lnTo>
                    <a:pt x="615" y="312"/>
                  </a:lnTo>
                  <a:lnTo>
                    <a:pt x="612" y="302"/>
                  </a:lnTo>
                  <a:lnTo>
                    <a:pt x="608" y="293"/>
                  </a:lnTo>
                  <a:lnTo>
                    <a:pt x="605" y="285"/>
                  </a:lnTo>
                  <a:lnTo>
                    <a:pt x="600" y="276"/>
                  </a:lnTo>
                  <a:lnTo>
                    <a:pt x="595" y="268"/>
                  </a:lnTo>
                  <a:lnTo>
                    <a:pt x="590" y="260"/>
                  </a:lnTo>
                  <a:lnTo>
                    <a:pt x="584" y="253"/>
                  </a:lnTo>
                  <a:lnTo>
                    <a:pt x="579" y="245"/>
                  </a:lnTo>
                  <a:lnTo>
                    <a:pt x="572" y="238"/>
                  </a:lnTo>
                  <a:lnTo>
                    <a:pt x="565" y="232"/>
                  </a:lnTo>
                  <a:lnTo>
                    <a:pt x="558" y="225"/>
                  </a:lnTo>
                  <a:lnTo>
                    <a:pt x="550" y="219"/>
                  </a:lnTo>
                  <a:lnTo>
                    <a:pt x="542" y="213"/>
                  </a:lnTo>
                  <a:lnTo>
                    <a:pt x="534" y="208"/>
                  </a:lnTo>
                  <a:lnTo>
                    <a:pt x="526" y="204"/>
                  </a:lnTo>
                  <a:lnTo>
                    <a:pt x="518" y="200"/>
                  </a:lnTo>
                  <a:lnTo>
                    <a:pt x="508" y="195"/>
                  </a:lnTo>
                  <a:lnTo>
                    <a:pt x="499" y="191"/>
                  </a:lnTo>
                  <a:lnTo>
                    <a:pt x="489" y="188"/>
                  </a:lnTo>
                  <a:lnTo>
                    <a:pt x="480" y="186"/>
                  </a:lnTo>
                  <a:lnTo>
                    <a:pt x="471" y="183"/>
                  </a:lnTo>
                  <a:lnTo>
                    <a:pt x="460" y="181"/>
                  </a:lnTo>
                  <a:lnTo>
                    <a:pt x="450" y="180"/>
                  </a:lnTo>
                  <a:lnTo>
                    <a:pt x="439" y="179"/>
                  </a:lnTo>
                  <a:lnTo>
                    <a:pt x="428" y="178"/>
                  </a:lnTo>
                  <a:lnTo>
                    <a:pt x="417" y="178"/>
                  </a:lnTo>
                  <a:close/>
                  <a:moveTo>
                    <a:pt x="184" y="0"/>
                  </a:moveTo>
                  <a:lnTo>
                    <a:pt x="60" y="0"/>
                  </a:lnTo>
                  <a:lnTo>
                    <a:pt x="60" y="405"/>
                  </a:lnTo>
                  <a:lnTo>
                    <a:pt x="59" y="415"/>
                  </a:lnTo>
                  <a:lnTo>
                    <a:pt x="58" y="419"/>
                  </a:lnTo>
                  <a:lnTo>
                    <a:pt x="58" y="423"/>
                  </a:lnTo>
                  <a:lnTo>
                    <a:pt x="56" y="426"/>
                  </a:lnTo>
                  <a:lnTo>
                    <a:pt x="55" y="429"/>
                  </a:lnTo>
                  <a:lnTo>
                    <a:pt x="53" y="432"/>
                  </a:lnTo>
                  <a:lnTo>
                    <a:pt x="51" y="435"/>
                  </a:lnTo>
                  <a:lnTo>
                    <a:pt x="47" y="440"/>
                  </a:lnTo>
                  <a:lnTo>
                    <a:pt x="41" y="443"/>
                  </a:lnTo>
                  <a:lnTo>
                    <a:pt x="34" y="444"/>
                  </a:lnTo>
                  <a:lnTo>
                    <a:pt x="31" y="445"/>
                  </a:lnTo>
                  <a:lnTo>
                    <a:pt x="27" y="445"/>
                  </a:lnTo>
                  <a:lnTo>
                    <a:pt x="0" y="445"/>
                  </a:lnTo>
                  <a:lnTo>
                    <a:pt x="0" y="560"/>
                  </a:lnTo>
                  <a:lnTo>
                    <a:pt x="41" y="560"/>
                  </a:lnTo>
                  <a:lnTo>
                    <a:pt x="57" y="560"/>
                  </a:lnTo>
                  <a:lnTo>
                    <a:pt x="67" y="559"/>
                  </a:lnTo>
                  <a:lnTo>
                    <a:pt x="74" y="558"/>
                  </a:lnTo>
                  <a:lnTo>
                    <a:pt x="89" y="556"/>
                  </a:lnTo>
                  <a:lnTo>
                    <a:pt x="97" y="554"/>
                  </a:lnTo>
                  <a:lnTo>
                    <a:pt x="104" y="552"/>
                  </a:lnTo>
                  <a:lnTo>
                    <a:pt x="116" y="547"/>
                  </a:lnTo>
                  <a:lnTo>
                    <a:pt x="128" y="541"/>
                  </a:lnTo>
                  <a:lnTo>
                    <a:pt x="134" y="537"/>
                  </a:lnTo>
                  <a:lnTo>
                    <a:pt x="139" y="534"/>
                  </a:lnTo>
                  <a:lnTo>
                    <a:pt x="143" y="530"/>
                  </a:lnTo>
                  <a:lnTo>
                    <a:pt x="149" y="526"/>
                  </a:lnTo>
                  <a:lnTo>
                    <a:pt x="153" y="522"/>
                  </a:lnTo>
                  <a:lnTo>
                    <a:pt x="157" y="516"/>
                  </a:lnTo>
                  <a:lnTo>
                    <a:pt x="164" y="506"/>
                  </a:lnTo>
                  <a:lnTo>
                    <a:pt x="167" y="500"/>
                  </a:lnTo>
                  <a:lnTo>
                    <a:pt x="169" y="494"/>
                  </a:lnTo>
                  <a:lnTo>
                    <a:pt x="175" y="481"/>
                  </a:lnTo>
                  <a:lnTo>
                    <a:pt x="177" y="474"/>
                  </a:lnTo>
                  <a:lnTo>
                    <a:pt x="179" y="467"/>
                  </a:lnTo>
                  <a:lnTo>
                    <a:pt x="182" y="451"/>
                  </a:lnTo>
                  <a:lnTo>
                    <a:pt x="183" y="444"/>
                  </a:lnTo>
                  <a:lnTo>
                    <a:pt x="183" y="434"/>
                  </a:lnTo>
                  <a:lnTo>
                    <a:pt x="184" y="417"/>
                  </a:lnTo>
                  <a:lnTo>
                    <a:pt x="184" y="0"/>
                  </a:lnTo>
                  <a:close/>
                  <a:moveTo>
                    <a:pt x="2201" y="863"/>
                  </a:moveTo>
                  <a:lnTo>
                    <a:pt x="2208" y="863"/>
                  </a:lnTo>
                  <a:lnTo>
                    <a:pt x="2216" y="864"/>
                  </a:lnTo>
                  <a:lnTo>
                    <a:pt x="2222" y="865"/>
                  </a:lnTo>
                  <a:lnTo>
                    <a:pt x="2228" y="867"/>
                  </a:lnTo>
                  <a:lnTo>
                    <a:pt x="2234" y="869"/>
                  </a:lnTo>
                  <a:lnTo>
                    <a:pt x="2239" y="872"/>
                  </a:lnTo>
                  <a:lnTo>
                    <a:pt x="2245" y="876"/>
                  </a:lnTo>
                  <a:lnTo>
                    <a:pt x="2250" y="880"/>
                  </a:lnTo>
                  <a:lnTo>
                    <a:pt x="2255" y="884"/>
                  </a:lnTo>
                  <a:lnTo>
                    <a:pt x="2258" y="890"/>
                  </a:lnTo>
                  <a:lnTo>
                    <a:pt x="2262" y="895"/>
                  </a:lnTo>
                  <a:lnTo>
                    <a:pt x="2265" y="901"/>
                  </a:lnTo>
                  <a:lnTo>
                    <a:pt x="2268" y="908"/>
                  </a:lnTo>
                  <a:lnTo>
                    <a:pt x="2270" y="914"/>
                  </a:lnTo>
                  <a:lnTo>
                    <a:pt x="2271" y="922"/>
                  </a:lnTo>
                  <a:lnTo>
                    <a:pt x="2272" y="930"/>
                  </a:lnTo>
                  <a:lnTo>
                    <a:pt x="2124" y="930"/>
                  </a:lnTo>
                  <a:lnTo>
                    <a:pt x="2125" y="922"/>
                  </a:lnTo>
                  <a:lnTo>
                    <a:pt x="2127" y="913"/>
                  </a:lnTo>
                  <a:lnTo>
                    <a:pt x="2130" y="906"/>
                  </a:lnTo>
                  <a:lnTo>
                    <a:pt x="2132" y="899"/>
                  </a:lnTo>
                  <a:lnTo>
                    <a:pt x="2137" y="893"/>
                  </a:lnTo>
                  <a:lnTo>
                    <a:pt x="2140" y="887"/>
                  </a:lnTo>
                  <a:lnTo>
                    <a:pt x="2145" y="882"/>
                  </a:lnTo>
                  <a:lnTo>
                    <a:pt x="2149" y="878"/>
                  </a:lnTo>
                  <a:lnTo>
                    <a:pt x="2154" y="874"/>
                  </a:lnTo>
                  <a:lnTo>
                    <a:pt x="2160" y="871"/>
                  </a:lnTo>
                  <a:lnTo>
                    <a:pt x="2167" y="869"/>
                  </a:lnTo>
                  <a:lnTo>
                    <a:pt x="2173" y="866"/>
                  </a:lnTo>
                  <a:lnTo>
                    <a:pt x="2179" y="865"/>
                  </a:lnTo>
                  <a:lnTo>
                    <a:pt x="2186" y="863"/>
                  </a:lnTo>
                  <a:lnTo>
                    <a:pt x="2194" y="863"/>
                  </a:lnTo>
                  <a:lnTo>
                    <a:pt x="2201" y="863"/>
                  </a:lnTo>
                  <a:close/>
                  <a:moveTo>
                    <a:pt x="2205" y="777"/>
                  </a:moveTo>
                  <a:lnTo>
                    <a:pt x="2194" y="777"/>
                  </a:lnTo>
                  <a:lnTo>
                    <a:pt x="2183" y="777"/>
                  </a:lnTo>
                  <a:lnTo>
                    <a:pt x="2174" y="778"/>
                  </a:lnTo>
                  <a:lnTo>
                    <a:pt x="2169" y="779"/>
                  </a:lnTo>
                  <a:lnTo>
                    <a:pt x="2164" y="780"/>
                  </a:lnTo>
                  <a:lnTo>
                    <a:pt x="2154" y="782"/>
                  </a:lnTo>
                  <a:lnTo>
                    <a:pt x="2145" y="785"/>
                  </a:lnTo>
                  <a:lnTo>
                    <a:pt x="2136" y="787"/>
                  </a:lnTo>
                  <a:lnTo>
                    <a:pt x="2126" y="790"/>
                  </a:lnTo>
                  <a:lnTo>
                    <a:pt x="2118" y="794"/>
                  </a:lnTo>
                  <a:lnTo>
                    <a:pt x="2110" y="797"/>
                  </a:lnTo>
                  <a:lnTo>
                    <a:pt x="2101" y="801"/>
                  </a:lnTo>
                  <a:lnTo>
                    <a:pt x="2094" y="806"/>
                  </a:lnTo>
                  <a:lnTo>
                    <a:pt x="2087" y="812"/>
                  </a:lnTo>
                  <a:lnTo>
                    <a:pt x="2078" y="817"/>
                  </a:lnTo>
                  <a:lnTo>
                    <a:pt x="2072" y="822"/>
                  </a:lnTo>
                  <a:lnTo>
                    <a:pt x="2065" y="828"/>
                  </a:lnTo>
                  <a:lnTo>
                    <a:pt x="2059" y="835"/>
                  </a:lnTo>
                  <a:lnTo>
                    <a:pt x="2056" y="839"/>
                  </a:lnTo>
                  <a:lnTo>
                    <a:pt x="2052" y="842"/>
                  </a:lnTo>
                  <a:lnTo>
                    <a:pt x="2047" y="849"/>
                  </a:lnTo>
                  <a:lnTo>
                    <a:pt x="2042" y="857"/>
                  </a:lnTo>
                  <a:lnTo>
                    <a:pt x="2037" y="865"/>
                  </a:lnTo>
                  <a:lnTo>
                    <a:pt x="2033" y="873"/>
                  </a:lnTo>
                  <a:lnTo>
                    <a:pt x="2029" y="881"/>
                  </a:lnTo>
                  <a:lnTo>
                    <a:pt x="2024" y="891"/>
                  </a:lnTo>
                  <a:lnTo>
                    <a:pt x="2021" y="900"/>
                  </a:lnTo>
                  <a:lnTo>
                    <a:pt x="2019" y="909"/>
                  </a:lnTo>
                  <a:lnTo>
                    <a:pt x="2016" y="920"/>
                  </a:lnTo>
                  <a:lnTo>
                    <a:pt x="2014" y="930"/>
                  </a:lnTo>
                  <a:lnTo>
                    <a:pt x="2013" y="940"/>
                  </a:lnTo>
                  <a:lnTo>
                    <a:pt x="2012" y="951"/>
                  </a:lnTo>
                  <a:lnTo>
                    <a:pt x="2011" y="962"/>
                  </a:lnTo>
                  <a:lnTo>
                    <a:pt x="2010" y="974"/>
                  </a:lnTo>
                  <a:lnTo>
                    <a:pt x="2011" y="985"/>
                  </a:lnTo>
                  <a:lnTo>
                    <a:pt x="2012" y="996"/>
                  </a:lnTo>
                  <a:lnTo>
                    <a:pt x="2013" y="1006"/>
                  </a:lnTo>
                  <a:lnTo>
                    <a:pt x="2014" y="1016"/>
                  </a:lnTo>
                  <a:lnTo>
                    <a:pt x="2019" y="1036"/>
                  </a:lnTo>
                  <a:lnTo>
                    <a:pt x="2021" y="1044"/>
                  </a:lnTo>
                  <a:lnTo>
                    <a:pt x="2025" y="1054"/>
                  </a:lnTo>
                  <a:lnTo>
                    <a:pt x="2029" y="1062"/>
                  </a:lnTo>
                  <a:lnTo>
                    <a:pt x="2033" y="1071"/>
                  </a:lnTo>
                  <a:lnTo>
                    <a:pt x="2038" y="1079"/>
                  </a:lnTo>
                  <a:lnTo>
                    <a:pt x="2042" y="1087"/>
                  </a:lnTo>
                  <a:lnTo>
                    <a:pt x="2048" y="1094"/>
                  </a:lnTo>
                  <a:lnTo>
                    <a:pt x="2053" y="1101"/>
                  </a:lnTo>
                  <a:lnTo>
                    <a:pt x="2060" y="1109"/>
                  </a:lnTo>
                  <a:lnTo>
                    <a:pt x="2067" y="1115"/>
                  </a:lnTo>
                  <a:lnTo>
                    <a:pt x="2074" y="1121"/>
                  </a:lnTo>
                  <a:lnTo>
                    <a:pt x="2082" y="1127"/>
                  </a:lnTo>
                  <a:lnTo>
                    <a:pt x="2089" y="1133"/>
                  </a:lnTo>
                  <a:lnTo>
                    <a:pt x="2097" y="1138"/>
                  </a:lnTo>
                  <a:lnTo>
                    <a:pt x="2105" y="1143"/>
                  </a:lnTo>
                  <a:lnTo>
                    <a:pt x="2114" y="1147"/>
                  </a:lnTo>
                  <a:lnTo>
                    <a:pt x="2122" y="1151"/>
                  </a:lnTo>
                  <a:lnTo>
                    <a:pt x="2131" y="1154"/>
                  </a:lnTo>
                  <a:lnTo>
                    <a:pt x="2141" y="1158"/>
                  </a:lnTo>
                  <a:lnTo>
                    <a:pt x="2151" y="1161"/>
                  </a:lnTo>
                  <a:lnTo>
                    <a:pt x="2162" y="1163"/>
                  </a:lnTo>
                  <a:lnTo>
                    <a:pt x="2172" y="1165"/>
                  </a:lnTo>
                  <a:lnTo>
                    <a:pt x="2182" y="1166"/>
                  </a:lnTo>
                  <a:lnTo>
                    <a:pt x="2193" y="1167"/>
                  </a:lnTo>
                  <a:lnTo>
                    <a:pt x="2204" y="1168"/>
                  </a:lnTo>
                  <a:lnTo>
                    <a:pt x="2217" y="1169"/>
                  </a:lnTo>
                  <a:lnTo>
                    <a:pt x="2228" y="1168"/>
                  </a:lnTo>
                  <a:lnTo>
                    <a:pt x="2239" y="1168"/>
                  </a:lnTo>
                  <a:lnTo>
                    <a:pt x="2250" y="1167"/>
                  </a:lnTo>
                  <a:lnTo>
                    <a:pt x="2261" y="1165"/>
                  </a:lnTo>
                  <a:lnTo>
                    <a:pt x="2272" y="1164"/>
                  </a:lnTo>
                  <a:lnTo>
                    <a:pt x="2281" y="1162"/>
                  </a:lnTo>
                  <a:lnTo>
                    <a:pt x="2301" y="1156"/>
                  </a:lnTo>
                  <a:lnTo>
                    <a:pt x="2319" y="1149"/>
                  </a:lnTo>
                  <a:lnTo>
                    <a:pt x="2337" y="1142"/>
                  </a:lnTo>
                  <a:lnTo>
                    <a:pt x="2353" y="1135"/>
                  </a:lnTo>
                  <a:lnTo>
                    <a:pt x="2368" y="1125"/>
                  </a:lnTo>
                  <a:lnTo>
                    <a:pt x="2325" y="1035"/>
                  </a:lnTo>
                  <a:lnTo>
                    <a:pt x="2315" y="1040"/>
                  </a:lnTo>
                  <a:lnTo>
                    <a:pt x="2305" y="1046"/>
                  </a:lnTo>
                  <a:lnTo>
                    <a:pt x="2292" y="1052"/>
                  </a:lnTo>
                  <a:lnTo>
                    <a:pt x="2279" y="1057"/>
                  </a:lnTo>
                  <a:lnTo>
                    <a:pt x="2273" y="1060"/>
                  </a:lnTo>
                  <a:lnTo>
                    <a:pt x="2265" y="1062"/>
                  </a:lnTo>
                  <a:lnTo>
                    <a:pt x="2250" y="1065"/>
                  </a:lnTo>
                  <a:lnTo>
                    <a:pt x="2243" y="1066"/>
                  </a:lnTo>
                  <a:lnTo>
                    <a:pt x="2234" y="1067"/>
                  </a:lnTo>
                  <a:lnTo>
                    <a:pt x="2218" y="1068"/>
                  </a:lnTo>
                  <a:lnTo>
                    <a:pt x="2208" y="1068"/>
                  </a:lnTo>
                  <a:lnTo>
                    <a:pt x="2200" y="1067"/>
                  </a:lnTo>
                  <a:lnTo>
                    <a:pt x="2192" y="1066"/>
                  </a:lnTo>
                  <a:lnTo>
                    <a:pt x="2183" y="1064"/>
                  </a:lnTo>
                  <a:lnTo>
                    <a:pt x="2176" y="1062"/>
                  </a:lnTo>
                  <a:lnTo>
                    <a:pt x="2169" y="1059"/>
                  </a:lnTo>
                  <a:lnTo>
                    <a:pt x="2162" y="1056"/>
                  </a:lnTo>
                  <a:lnTo>
                    <a:pt x="2155" y="1052"/>
                  </a:lnTo>
                  <a:lnTo>
                    <a:pt x="2149" y="1047"/>
                  </a:lnTo>
                  <a:lnTo>
                    <a:pt x="2144" y="1042"/>
                  </a:lnTo>
                  <a:lnTo>
                    <a:pt x="2139" y="1037"/>
                  </a:lnTo>
                  <a:lnTo>
                    <a:pt x="2135" y="1031"/>
                  </a:lnTo>
                  <a:lnTo>
                    <a:pt x="2131" y="1025"/>
                  </a:lnTo>
                  <a:lnTo>
                    <a:pt x="2128" y="1017"/>
                  </a:lnTo>
                  <a:lnTo>
                    <a:pt x="2125" y="1009"/>
                  </a:lnTo>
                  <a:lnTo>
                    <a:pt x="2123" y="1001"/>
                  </a:lnTo>
                  <a:lnTo>
                    <a:pt x="2388" y="1001"/>
                  </a:lnTo>
                  <a:lnTo>
                    <a:pt x="2388" y="974"/>
                  </a:lnTo>
                  <a:lnTo>
                    <a:pt x="2387" y="961"/>
                  </a:lnTo>
                  <a:lnTo>
                    <a:pt x="2387" y="950"/>
                  </a:lnTo>
                  <a:lnTo>
                    <a:pt x="2386" y="938"/>
                  </a:lnTo>
                  <a:lnTo>
                    <a:pt x="2384" y="927"/>
                  </a:lnTo>
                  <a:lnTo>
                    <a:pt x="2382" y="917"/>
                  </a:lnTo>
                  <a:lnTo>
                    <a:pt x="2380" y="906"/>
                  </a:lnTo>
                  <a:lnTo>
                    <a:pt x="2378" y="897"/>
                  </a:lnTo>
                  <a:lnTo>
                    <a:pt x="2375" y="886"/>
                  </a:lnTo>
                  <a:lnTo>
                    <a:pt x="2371" y="878"/>
                  </a:lnTo>
                  <a:lnTo>
                    <a:pt x="2367" y="869"/>
                  </a:lnTo>
                  <a:lnTo>
                    <a:pt x="2364" y="860"/>
                  </a:lnTo>
                  <a:lnTo>
                    <a:pt x="2359" y="853"/>
                  </a:lnTo>
                  <a:lnTo>
                    <a:pt x="2355" y="846"/>
                  </a:lnTo>
                  <a:lnTo>
                    <a:pt x="2350" y="839"/>
                  </a:lnTo>
                  <a:lnTo>
                    <a:pt x="2343" y="831"/>
                  </a:lnTo>
                  <a:lnTo>
                    <a:pt x="2338" y="825"/>
                  </a:lnTo>
                  <a:lnTo>
                    <a:pt x="2332" y="820"/>
                  </a:lnTo>
                  <a:lnTo>
                    <a:pt x="2325" y="814"/>
                  </a:lnTo>
                  <a:lnTo>
                    <a:pt x="2318" y="808"/>
                  </a:lnTo>
                  <a:lnTo>
                    <a:pt x="2311" y="804"/>
                  </a:lnTo>
                  <a:lnTo>
                    <a:pt x="2304" y="800"/>
                  </a:lnTo>
                  <a:lnTo>
                    <a:pt x="2297" y="796"/>
                  </a:lnTo>
                  <a:lnTo>
                    <a:pt x="2288" y="792"/>
                  </a:lnTo>
                  <a:lnTo>
                    <a:pt x="2280" y="789"/>
                  </a:lnTo>
                  <a:lnTo>
                    <a:pt x="2272" y="786"/>
                  </a:lnTo>
                  <a:lnTo>
                    <a:pt x="2268" y="785"/>
                  </a:lnTo>
                  <a:lnTo>
                    <a:pt x="2263" y="784"/>
                  </a:lnTo>
                  <a:lnTo>
                    <a:pt x="2254" y="781"/>
                  </a:lnTo>
                  <a:lnTo>
                    <a:pt x="2245" y="779"/>
                  </a:lnTo>
                  <a:lnTo>
                    <a:pt x="2235" y="778"/>
                  </a:lnTo>
                  <a:lnTo>
                    <a:pt x="2225" y="777"/>
                  </a:lnTo>
                  <a:lnTo>
                    <a:pt x="2205" y="777"/>
                  </a:lnTo>
                  <a:close/>
                  <a:moveTo>
                    <a:pt x="1790" y="1059"/>
                  </a:moveTo>
                  <a:lnTo>
                    <a:pt x="1780" y="1058"/>
                  </a:lnTo>
                  <a:lnTo>
                    <a:pt x="1772" y="1057"/>
                  </a:lnTo>
                  <a:lnTo>
                    <a:pt x="1764" y="1055"/>
                  </a:lnTo>
                  <a:lnTo>
                    <a:pt x="1756" y="1053"/>
                  </a:lnTo>
                  <a:lnTo>
                    <a:pt x="1749" y="1050"/>
                  </a:lnTo>
                  <a:lnTo>
                    <a:pt x="1742" y="1045"/>
                  </a:lnTo>
                  <a:lnTo>
                    <a:pt x="1735" y="1040"/>
                  </a:lnTo>
                  <a:lnTo>
                    <a:pt x="1732" y="1038"/>
                  </a:lnTo>
                  <a:lnTo>
                    <a:pt x="1729" y="1035"/>
                  </a:lnTo>
                  <a:lnTo>
                    <a:pt x="1726" y="1032"/>
                  </a:lnTo>
                  <a:lnTo>
                    <a:pt x="1724" y="1029"/>
                  </a:lnTo>
                  <a:lnTo>
                    <a:pt x="1719" y="1023"/>
                  </a:lnTo>
                  <a:lnTo>
                    <a:pt x="1715" y="1015"/>
                  </a:lnTo>
                  <a:lnTo>
                    <a:pt x="1712" y="1008"/>
                  </a:lnTo>
                  <a:lnTo>
                    <a:pt x="1708" y="1000"/>
                  </a:lnTo>
                  <a:lnTo>
                    <a:pt x="1706" y="991"/>
                  </a:lnTo>
                  <a:lnTo>
                    <a:pt x="1705" y="982"/>
                  </a:lnTo>
                  <a:lnTo>
                    <a:pt x="1705" y="973"/>
                  </a:lnTo>
                  <a:lnTo>
                    <a:pt x="1705" y="962"/>
                  </a:lnTo>
                  <a:lnTo>
                    <a:pt x="1706" y="953"/>
                  </a:lnTo>
                  <a:lnTo>
                    <a:pt x="1708" y="945"/>
                  </a:lnTo>
                  <a:lnTo>
                    <a:pt x="1712" y="936"/>
                  </a:lnTo>
                  <a:lnTo>
                    <a:pt x="1715" y="929"/>
                  </a:lnTo>
                  <a:lnTo>
                    <a:pt x="1719" y="922"/>
                  </a:lnTo>
                  <a:lnTo>
                    <a:pt x="1724" y="915"/>
                  </a:lnTo>
                  <a:lnTo>
                    <a:pt x="1729" y="909"/>
                  </a:lnTo>
                  <a:lnTo>
                    <a:pt x="1735" y="904"/>
                  </a:lnTo>
                  <a:lnTo>
                    <a:pt x="1742" y="899"/>
                  </a:lnTo>
                  <a:lnTo>
                    <a:pt x="1746" y="897"/>
                  </a:lnTo>
                  <a:lnTo>
                    <a:pt x="1749" y="896"/>
                  </a:lnTo>
                  <a:lnTo>
                    <a:pt x="1756" y="892"/>
                  </a:lnTo>
                  <a:lnTo>
                    <a:pt x="1764" y="890"/>
                  </a:lnTo>
                  <a:lnTo>
                    <a:pt x="1772" y="887"/>
                  </a:lnTo>
                  <a:lnTo>
                    <a:pt x="1780" y="886"/>
                  </a:lnTo>
                  <a:lnTo>
                    <a:pt x="1790" y="886"/>
                  </a:lnTo>
                  <a:lnTo>
                    <a:pt x="1799" y="886"/>
                  </a:lnTo>
                  <a:lnTo>
                    <a:pt x="1807" y="887"/>
                  </a:lnTo>
                  <a:lnTo>
                    <a:pt x="1815" y="890"/>
                  </a:lnTo>
                  <a:lnTo>
                    <a:pt x="1824" y="892"/>
                  </a:lnTo>
                  <a:lnTo>
                    <a:pt x="1831" y="896"/>
                  </a:lnTo>
                  <a:lnTo>
                    <a:pt x="1838" y="899"/>
                  </a:lnTo>
                  <a:lnTo>
                    <a:pt x="1845" y="904"/>
                  </a:lnTo>
                  <a:lnTo>
                    <a:pt x="1851" y="909"/>
                  </a:lnTo>
                  <a:lnTo>
                    <a:pt x="1854" y="912"/>
                  </a:lnTo>
                  <a:lnTo>
                    <a:pt x="1856" y="915"/>
                  </a:lnTo>
                  <a:lnTo>
                    <a:pt x="1861" y="922"/>
                  </a:lnTo>
                  <a:lnTo>
                    <a:pt x="1865" y="929"/>
                  </a:lnTo>
                  <a:lnTo>
                    <a:pt x="1868" y="936"/>
                  </a:lnTo>
                  <a:lnTo>
                    <a:pt x="1872" y="945"/>
                  </a:lnTo>
                  <a:lnTo>
                    <a:pt x="1874" y="953"/>
                  </a:lnTo>
                  <a:lnTo>
                    <a:pt x="1875" y="962"/>
                  </a:lnTo>
                  <a:lnTo>
                    <a:pt x="1875" y="973"/>
                  </a:lnTo>
                  <a:lnTo>
                    <a:pt x="1875" y="982"/>
                  </a:lnTo>
                  <a:lnTo>
                    <a:pt x="1874" y="991"/>
                  </a:lnTo>
                  <a:lnTo>
                    <a:pt x="1872" y="1000"/>
                  </a:lnTo>
                  <a:lnTo>
                    <a:pt x="1868" y="1008"/>
                  </a:lnTo>
                  <a:lnTo>
                    <a:pt x="1865" y="1015"/>
                  </a:lnTo>
                  <a:lnTo>
                    <a:pt x="1861" y="1023"/>
                  </a:lnTo>
                  <a:lnTo>
                    <a:pt x="1856" y="1029"/>
                  </a:lnTo>
                  <a:lnTo>
                    <a:pt x="1851" y="1035"/>
                  </a:lnTo>
                  <a:lnTo>
                    <a:pt x="1845" y="1040"/>
                  </a:lnTo>
                  <a:lnTo>
                    <a:pt x="1838" y="1045"/>
                  </a:lnTo>
                  <a:lnTo>
                    <a:pt x="1831" y="1050"/>
                  </a:lnTo>
                  <a:lnTo>
                    <a:pt x="1824" y="1053"/>
                  </a:lnTo>
                  <a:lnTo>
                    <a:pt x="1815" y="1055"/>
                  </a:lnTo>
                  <a:lnTo>
                    <a:pt x="1807" y="1057"/>
                  </a:lnTo>
                  <a:lnTo>
                    <a:pt x="1799" y="1058"/>
                  </a:lnTo>
                  <a:lnTo>
                    <a:pt x="1790" y="1059"/>
                  </a:lnTo>
                  <a:close/>
                  <a:moveTo>
                    <a:pt x="1800" y="1328"/>
                  </a:moveTo>
                  <a:lnTo>
                    <a:pt x="1824" y="1328"/>
                  </a:lnTo>
                  <a:lnTo>
                    <a:pt x="1834" y="1327"/>
                  </a:lnTo>
                  <a:lnTo>
                    <a:pt x="1846" y="1326"/>
                  </a:lnTo>
                  <a:lnTo>
                    <a:pt x="1856" y="1324"/>
                  </a:lnTo>
                  <a:lnTo>
                    <a:pt x="1865" y="1322"/>
                  </a:lnTo>
                  <a:lnTo>
                    <a:pt x="1876" y="1320"/>
                  </a:lnTo>
                  <a:lnTo>
                    <a:pt x="1885" y="1318"/>
                  </a:lnTo>
                  <a:lnTo>
                    <a:pt x="1893" y="1314"/>
                  </a:lnTo>
                  <a:lnTo>
                    <a:pt x="1903" y="1311"/>
                  </a:lnTo>
                  <a:lnTo>
                    <a:pt x="1918" y="1304"/>
                  </a:lnTo>
                  <a:lnTo>
                    <a:pt x="1927" y="1300"/>
                  </a:lnTo>
                  <a:lnTo>
                    <a:pt x="1934" y="1296"/>
                  </a:lnTo>
                  <a:lnTo>
                    <a:pt x="1946" y="1285"/>
                  </a:lnTo>
                  <a:lnTo>
                    <a:pt x="1953" y="1280"/>
                  </a:lnTo>
                  <a:lnTo>
                    <a:pt x="1959" y="1274"/>
                  </a:lnTo>
                  <a:lnTo>
                    <a:pt x="1964" y="1269"/>
                  </a:lnTo>
                  <a:lnTo>
                    <a:pt x="1969" y="1262"/>
                  </a:lnTo>
                  <a:lnTo>
                    <a:pt x="1973" y="1255"/>
                  </a:lnTo>
                  <a:lnTo>
                    <a:pt x="1978" y="1248"/>
                  </a:lnTo>
                  <a:lnTo>
                    <a:pt x="1982" y="1240"/>
                  </a:lnTo>
                  <a:lnTo>
                    <a:pt x="1985" y="1232"/>
                  </a:lnTo>
                  <a:lnTo>
                    <a:pt x="1988" y="1224"/>
                  </a:lnTo>
                  <a:lnTo>
                    <a:pt x="1991" y="1216"/>
                  </a:lnTo>
                  <a:lnTo>
                    <a:pt x="1993" y="1206"/>
                  </a:lnTo>
                  <a:lnTo>
                    <a:pt x="1995" y="1197"/>
                  </a:lnTo>
                  <a:lnTo>
                    <a:pt x="1996" y="1188"/>
                  </a:lnTo>
                  <a:lnTo>
                    <a:pt x="1997" y="1177"/>
                  </a:lnTo>
                  <a:lnTo>
                    <a:pt x="1998" y="1167"/>
                  </a:lnTo>
                  <a:lnTo>
                    <a:pt x="1998" y="1157"/>
                  </a:lnTo>
                  <a:lnTo>
                    <a:pt x="1998" y="788"/>
                  </a:lnTo>
                  <a:lnTo>
                    <a:pt x="1878" y="788"/>
                  </a:lnTo>
                  <a:lnTo>
                    <a:pt x="1878" y="839"/>
                  </a:lnTo>
                  <a:lnTo>
                    <a:pt x="1877" y="839"/>
                  </a:lnTo>
                  <a:lnTo>
                    <a:pt x="1873" y="831"/>
                  </a:lnTo>
                  <a:lnTo>
                    <a:pt x="1867" y="825"/>
                  </a:lnTo>
                  <a:lnTo>
                    <a:pt x="1862" y="819"/>
                  </a:lnTo>
                  <a:lnTo>
                    <a:pt x="1856" y="813"/>
                  </a:lnTo>
                  <a:lnTo>
                    <a:pt x="1851" y="807"/>
                  </a:lnTo>
                  <a:lnTo>
                    <a:pt x="1845" y="802"/>
                  </a:lnTo>
                  <a:lnTo>
                    <a:pt x="1837" y="797"/>
                  </a:lnTo>
                  <a:lnTo>
                    <a:pt x="1830" y="793"/>
                  </a:lnTo>
                  <a:lnTo>
                    <a:pt x="1823" y="789"/>
                  </a:lnTo>
                  <a:lnTo>
                    <a:pt x="1814" y="786"/>
                  </a:lnTo>
                  <a:lnTo>
                    <a:pt x="1806" y="782"/>
                  </a:lnTo>
                  <a:lnTo>
                    <a:pt x="1797" y="780"/>
                  </a:lnTo>
                  <a:lnTo>
                    <a:pt x="1787" y="778"/>
                  </a:lnTo>
                  <a:lnTo>
                    <a:pt x="1777" y="777"/>
                  </a:lnTo>
                  <a:lnTo>
                    <a:pt x="1767" y="776"/>
                  </a:lnTo>
                  <a:lnTo>
                    <a:pt x="1756" y="776"/>
                  </a:lnTo>
                  <a:lnTo>
                    <a:pt x="1738" y="777"/>
                  </a:lnTo>
                  <a:lnTo>
                    <a:pt x="1729" y="777"/>
                  </a:lnTo>
                  <a:lnTo>
                    <a:pt x="1721" y="779"/>
                  </a:lnTo>
                  <a:lnTo>
                    <a:pt x="1713" y="780"/>
                  </a:lnTo>
                  <a:lnTo>
                    <a:pt x="1704" y="784"/>
                  </a:lnTo>
                  <a:lnTo>
                    <a:pt x="1696" y="786"/>
                  </a:lnTo>
                  <a:lnTo>
                    <a:pt x="1689" y="789"/>
                  </a:lnTo>
                  <a:lnTo>
                    <a:pt x="1680" y="792"/>
                  </a:lnTo>
                  <a:lnTo>
                    <a:pt x="1673" y="795"/>
                  </a:lnTo>
                  <a:lnTo>
                    <a:pt x="1666" y="799"/>
                  </a:lnTo>
                  <a:lnTo>
                    <a:pt x="1660" y="804"/>
                  </a:lnTo>
                  <a:lnTo>
                    <a:pt x="1652" y="808"/>
                  </a:lnTo>
                  <a:lnTo>
                    <a:pt x="1645" y="814"/>
                  </a:lnTo>
                  <a:lnTo>
                    <a:pt x="1639" y="820"/>
                  </a:lnTo>
                  <a:lnTo>
                    <a:pt x="1633" y="825"/>
                  </a:lnTo>
                  <a:lnTo>
                    <a:pt x="1626" y="832"/>
                  </a:lnTo>
                  <a:lnTo>
                    <a:pt x="1621" y="839"/>
                  </a:lnTo>
                  <a:lnTo>
                    <a:pt x="1616" y="846"/>
                  </a:lnTo>
                  <a:lnTo>
                    <a:pt x="1611" y="853"/>
                  </a:lnTo>
                  <a:lnTo>
                    <a:pt x="1607" y="861"/>
                  </a:lnTo>
                  <a:lnTo>
                    <a:pt x="1602" y="869"/>
                  </a:lnTo>
                  <a:lnTo>
                    <a:pt x="1595" y="886"/>
                  </a:lnTo>
                  <a:lnTo>
                    <a:pt x="1592" y="896"/>
                  </a:lnTo>
                  <a:lnTo>
                    <a:pt x="1590" y="906"/>
                  </a:lnTo>
                  <a:lnTo>
                    <a:pt x="1587" y="915"/>
                  </a:lnTo>
                  <a:lnTo>
                    <a:pt x="1586" y="926"/>
                  </a:lnTo>
                  <a:lnTo>
                    <a:pt x="1584" y="937"/>
                  </a:lnTo>
                  <a:lnTo>
                    <a:pt x="1583" y="948"/>
                  </a:lnTo>
                  <a:lnTo>
                    <a:pt x="1582" y="959"/>
                  </a:lnTo>
                  <a:lnTo>
                    <a:pt x="1582" y="972"/>
                  </a:lnTo>
                  <a:lnTo>
                    <a:pt x="1582" y="983"/>
                  </a:lnTo>
                  <a:lnTo>
                    <a:pt x="1583" y="994"/>
                  </a:lnTo>
                  <a:lnTo>
                    <a:pt x="1584" y="1006"/>
                  </a:lnTo>
                  <a:lnTo>
                    <a:pt x="1585" y="1016"/>
                  </a:lnTo>
                  <a:lnTo>
                    <a:pt x="1587" y="1027"/>
                  </a:lnTo>
                  <a:lnTo>
                    <a:pt x="1589" y="1037"/>
                  </a:lnTo>
                  <a:lnTo>
                    <a:pt x="1592" y="1046"/>
                  </a:lnTo>
                  <a:lnTo>
                    <a:pt x="1595" y="1056"/>
                  </a:lnTo>
                  <a:lnTo>
                    <a:pt x="1598" y="1064"/>
                  </a:lnTo>
                  <a:lnTo>
                    <a:pt x="1602" y="1072"/>
                  </a:lnTo>
                  <a:lnTo>
                    <a:pt x="1607" y="1081"/>
                  </a:lnTo>
                  <a:lnTo>
                    <a:pt x="1611" y="1088"/>
                  </a:lnTo>
                  <a:lnTo>
                    <a:pt x="1615" y="1095"/>
                  </a:lnTo>
                  <a:lnTo>
                    <a:pt x="1620" y="1103"/>
                  </a:lnTo>
                  <a:lnTo>
                    <a:pt x="1626" y="1109"/>
                  </a:lnTo>
                  <a:lnTo>
                    <a:pt x="1633" y="1115"/>
                  </a:lnTo>
                  <a:lnTo>
                    <a:pt x="1639" y="1121"/>
                  </a:lnTo>
                  <a:lnTo>
                    <a:pt x="1645" y="1126"/>
                  </a:lnTo>
                  <a:lnTo>
                    <a:pt x="1651" y="1132"/>
                  </a:lnTo>
                  <a:lnTo>
                    <a:pt x="1659" y="1136"/>
                  </a:lnTo>
                  <a:lnTo>
                    <a:pt x="1665" y="1140"/>
                  </a:lnTo>
                  <a:lnTo>
                    <a:pt x="1672" y="1144"/>
                  </a:lnTo>
                  <a:lnTo>
                    <a:pt x="1679" y="1148"/>
                  </a:lnTo>
                  <a:lnTo>
                    <a:pt x="1688" y="1151"/>
                  </a:lnTo>
                  <a:lnTo>
                    <a:pt x="1695" y="1153"/>
                  </a:lnTo>
                  <a:lnTo>
                    <a:pt x="1703" y="1157"/>
                  </a:lnTo>
                  <a:lnTo>
                    <a:pt x="1712" y="1159"/>
                  </a:lnTo>
                  <a:lnTo>
                    <a:pt x="1720" y="1160"/>
                  </a:lnTo>
                  <a:lnTo>
                    <a:pt x="1728" y="1162"/>
                  </a:lnTo>
                  <a:lnTo>
                    <a:pt x="1738" y="1162"/>
                  </a:lnTo>
                  <a:lnTo>
                    <a:pt x="1755" y="1163"/>
                  </a:lnTo>
                  <a:lnTo>
                    <a:pt x="1767" y="1163"/>
                  </a:lnTo>
                  <a:lnTo>
                    <a:pt x="1777" y="1162"/>
                  </a:lnTo>
                  <a:lnTo>
                    <a:pt x="1787" y="1160"/>
                  </a:lnTo>
                  <a:lnTo>
                    <a:pt x="1798" y="1159"/>
                  </a:lnTo>
                  <a:lnTo>
                    <a:pt x="1807" y="1156"/>
                  </a:lnTo>
                  <a:lnTo>
                    <a:pt x="1815" y="1153"/>
                  </a:lnTo>
                  <a:lnTo>
                    <a:pt x="1824" y="1149"/>
                  </a:lnTo>
                  <a:lnTo>
                    <a:pt x="1831" y="1146"/>
                  </a:lnTo>
                  <a:lnTo>
                    <a:pt x="1838" y="1142"/>
                  </a:lnTo>
                  <a:lnTo>
                    <a:pt x="1846" y="1137"/>
                  </a:lnTo>
                  <a:lnTo>
                    <a:pt x="1852" y="1133"/>
                  </a:lnTo>
                  <a:lnTo>
                    <a:pt x="1857" y="1127"/>
                  </a:lnTo>
                  <a:lnTo>
                    <a:pt x="1863" y="1123"/>
                  </a:lnTo>
                  <a:lnTo>
                    <a:pt x="1867" y="1118"/>
                  </a:lnTo>
                  <a:lnTo>
                    <a:pt x="1873" y="1113"/>
                  </a:lnTo>
                  <a:lnTo>
                    <a:pt x="1877" y="1107"/>
                  </a:lnTo>
                  <a:lnTo>
                    <a:pt x="1878" y="1107"/>
                  </a:lnTo>
                  <a:lnTo>
                    <a:pt x="1878" y="1131"/>
                  </a:lnTo>
                  <a:lnTo>
                    <a:pt x="1878" y="1143"/>
                  </a:lnTo>
                  <a:lnTo>
                    <a:pt x="1877" y="1153"/>
                  </a:lnTo>
                  <a:lnTo>
                    <a:pt x="1876" y="1163"/>
                  </a:lnTo>
                  <a:lnTo>
                    <a:pt x="1875" y="1167"/>
                  </a:lnTo>
                  <a:lnTo>
                    <a:pt x="1874" y="1171"/>
                  </a:lnTo>
                  <a:lnTo>
                    <a:pt x="1871" y="1179"/>
                  </a:lnTo>
                  <a:lnTo>
                    <a:pt x="1866" y="1187"/>
                  </a:lnTo>
                  <a:lnTo>
                    <a:pt x="1862" y="1193"/>
                  </a:lnTo>
                  <a:lnTo>
                    <a:pt x="1857" y="1198"/>
                  </a:lnTo>
                  <a:lnTo>
                    <a:pt x="1852" y="1202"/>
                  </a:lnTo>
                  <a:lnTo>
                    <a:pt x="1846" y="1205"/>
                  </a:lnTo>
                  <a:lnTo>
                    <a:pt x="1842" y="1207"/>
                  </a:lnTo>
                  <a:lnTo>
                    <a:pt x="1838" y="1209"/>
                  </a:lnTo>
                  <a:lnTo>
                    <a:pt x="1830" y="1212"/>
                  </a:lnTo>
                  <a:lnTo>
                    <a:pt x="1822" y="1214"/>
                  </a:lnTo>
                  <a:lnTo>
                    <a:pt x="1812" y="1215"/>
                  </a:lnTo>
                  <a:lnTo>
                    <a:pt x="1802" y="1216"/>
                  </a:lnTo>
                  <a:lnTo>
                    <a:pt x="1792" y="1216"/>
                  </a:lnTo>
                  <a:lnTo>
                    <a:pt x="1768" y="1215"/>
                  </a:lnTo>
                  <a:lnTo>
                    <a:pt x="1754" y="1214"/>
                  </a:lnTo>
                  <a:lnTo>
                    <a:pt x="1739" y="1212"/>
                  </a:lnTo>
                  <a:lnTo>
                    <a:pt x="1722" y="1210"/>
                  </a:lnTo>
                  <a:lnTo>
                    <a:pt x="1703" y="1206"/>
                  </a:lnTo>
                  <a:lnTo>
                    <a:pt x="1684" y="1202"/>
                  </a:lnTo>
                  <a:lnTo>
                    <a:pt x="1662" y="1197"/>
                  </a:lnTo>
                  <a:lnTo>
                    <a:pt x="1642" y="1309"/>
                  </a:lnTo>
                  <a:lnTo>
                    <a:pt x="1665" y="1314"/>
                  </a:lnTo>
                  <a:lnTo>
                    <a:pt x="1688" y="1318"/>
                  </a:lnTo>
                  <a:lnTo>
                    <a:pt x="1709" y="1321"/>
                  </a:lnTo>
                  <a:lnTo>
                    <a:pt x="1730" y="1324"/>
                  </a:lnTo>
                  <a:lnTo>
                    <a:pt x="1750" y="1326"/>
                  </a:lnTo>
                  <a:lnTo>
                    <a:pt x="1768" y="1327"/>
                  </a:lnTo>
                  <a:lnTo>
                    <a:pt x="1784" y="1328"/>
                  </a:lnTo>
                  <a:lnTo>
                    <a:pt x="1800" y="1328"/>
                  </a:lnTo>
                  <a:close/>
                  <a:moveTo>
                    <a:pt x="1431" y="776"/>
                  </a:moveTo>
                  <a:lnTo>
                    <a:pt x="1421" y="776"/>
                  </a:lnTo>
                  <a:lnTo>
                    <a:pt x="1411" y="777"/>
                  </a:lnTo>
                  <a:lnTo>
                    <a:pt x="1403" y="778"/>
                  </a:lnTo>
                  <a:lnTo>
                    <a:pt x="1394" y="780"/>
                  </a:lnTo>
                  <a:lnTo>
                    <a:pt x="1385" y="784"/>
                  </a:lnTo>
                  <a:lnTo>
                    <a:pt x="1381" y="785"/>
                  </a:lnTo>
                  <a:lnTo>
                    <a:pt x="1377" y="786"/>
                  </a:lnTo>
                  <a:lnTo>
                    <a:pt x="1369" y="790"/>
                  </a:lnTo>
                  <a:lnTo>
                    <a:pt x="1360" y="794"/>
                  </a:lnTo>
                  <a:lnTo>
                    <a:pt x="1353" y="798"/>
                  </a:lnTo>
                  <a:lnTo>
                    <a:pt x="1346" y="803"/>
                  </a:lnTo>
                  <a:lnTo>
                    <a:pt x="1338" y="810"/>
                  </a:lnTo>
                  <a:lnTo>
                    <a:pt x="1332" y="815"/>
                  </a:lnTo>
                  <a:lnTo>
                    <a:pt x="1326" y="822"/>
                  </a:lnTo>
                  <a:lnTo>
                    <a:pt x="1321" y="828"/>
                  </a:lnTo>
                  <a:lnTo>
                    <a:pt x="1316" y="835"/>
                  </a:lnTo>
                  <a:lnTo>
                    <a:pt x="1310" y="844"/>
                  </a:lnTo>
                  <a:lnTo>
                    <a:pt x="1308" y="844"/>
                  </a:lnTo>
                  <a:lnTo>
                    <a:pt x="1308" y="788"/>
                  </a:lnTo>
                  <a:lnTo>
                    <a:pt x="1191" y="788"/>
                  </a:lnTo>
                  <a:lnTo>
                    <a:pt x="1191" y="1157"/>
                  </a:lnTo>
                  <a:lnTo>
                    <a:pt x="1311" y="1157"/>
                  </a:lnTo>
                  <a:lnTo>
                    <a:pt x="1311" y="972"/>
                  </a:lnTo>
                  <a:lnTo>
                    <a:pt x="1311" y="960"/>
                  </a:lnTo>
                  <a:lnTo>
                    <a:pt x="1313" y="949"/>
                  </a:lnTo>
                  <a:lnTo>
                    <a:pt x="1315" y="939"/>
                  </a:lnTo>
                  <a:lnTo>
                    <a:pt x="1316" y="934"/>
                  </a:lnTo>
                  <a:lnTo>
                    <a:pt x="1317" y="930"/>
                  </a:lnTo>
                  <a:lnTo>
                    <a:pt x="1319" y="922"/>
                  </a:lnTo>
                  <a:lnTo>
                    <a:pt x="1323" y="914"/>
                  </a:lnTo>
                  <a:lnTo>
                    <a:pt x="1327" y="908"/>
                  </a:lnTo>
                  <a:lnTo>
                    <a:pt x="1331" y="902"/>
                  </a:lnTo>
                  <a:lnTo>
                    <a:pt x="1336" y="898"/>
                  </a:lnTo>
                  <a:lnTo>
                    <a:pt x="1342" y="894"/>
                  </a:lnTo>
                  <a:lnTo>
                    <a:pt x="1348" y="890"/>
                  </a:lnTo>
                  <a:lnTo>
                    <a:pt x="1354" y="886"/>
                  </a:lnTo>
                  <a:lnTo>
                    <a:pt x="1360" y="884"/>
                  </a:lnTo>
                  <a:lnTo>
                    <a:pt x="1368" y="883"/>
                  </a:lnTo>
                  <a:lnTo>
                    <a:pt x="1375" y="882"/>
                  </a:lnTo>
                  <a:lnTo>
                    <a:pt x="1382" y="882"/>
                  </a:lnTo>
                  <a:lnTo>
                    <a:pt x="1390" y="882"/>
                  </a:lnTo>
                  <a:lnTo>
                    <a:pt x="1398" y="883"/>
                  </a:lnTo>
                  <a:lnTo>
                    <a:pt x="1402" y="884"/>
                  </a:lnTo>
                  <a:lnTo>
                    <a:pt x="1405" y="884"/>
                  </a:lnTo>
                  <a:lnTo>
                    <a:pt x="1411" y="886"/>
                  </a:lnTo>
                  <a:lnTo>
                    <a:pt x="1417" y="890"/>
                  </a:lnTo>
                  <a:lnTo>
                    <a:pt x="1423" y="893"/>
                  </a:lnTo>
                  <a:lnTo>
                    <a:pt x="1428" y="897"/>
                  </a:lnTo>
                  <a:lnTo>
                    <a:pt x="1431" y="899"/>
                  </a:lnTo>
                  <a:lnTo>
                    <a:pt x="1433" y="901"/>
                  </a:lnTo>
                  <a:lnTo>
                    <a:pt x="1437" y="906"/>
                  </a:lnTo>
                  <a:lnTo>
                    <a:pt x="1440" y="912"/>
                  </a:lnTo>
                  <a:lnTo>
                    <a:pt x="1443" y="919"/>
                  </a:lnTo>
                  <a:lnTo>
                    <a:pt x="1444" y="923"/>
                  </a:lnTo>
                  <a:lnTo>
                    <a:pt x="1446" y="926"/>
                  </a:lnTo>
                  <a:lnTo>
                    <a:pt x="1448" y="934"/>
                  </a:lnTo>
                  <a:lnTo>
                    <a:pt x="1449" y="943"/>
                  </a:lnTo>
                  <a:lnTo>
                    <a:pt x="1450" y="952"/>
                  </a:lnTo>
                  <a:lnTo>
                    <a:pt x="1450" y="962"/>
                  </a:lnTo>
                  <a:lnTo>
                    <a:pt x="1450" y="1157"/>
                  </a:lnTo>
                  <a:lnTo>
                    <a:pt x="1569" y="1157"/>
                  </a:lnTo>
                  <a:lnTo>
                    <a:pt x="1569" y="928"/>
                  </a:lnTo>
                  <a:lnTo>
                    <a:pt x="1569" y="919"/>
                  </a:lnTo>
                  <a:lnTo>
                    <a:pt x="1569" y="909"/>
                  </a:lnTo>
                  <a:lnTo>
                    <a:pt x="1568" y="900"/>
                  </a:lnTo>
                  <a:lnTo>
                    <a:pt x="1567" y="892"/>
                  </a:lnTo>
                  <a:lnTo>
                    <a:pt x="1565" y="883"/>
                  </a:lnTo>
                  <a:lnTo>
                    <a:pt x="1564" y="875"/>
                  </a:lnTo>
                  <a:lnTo>
                    <a:pt x="1560" y="860"/>
                  </a:lnTo>
                  <a:lnTo>
                    <a:pt x="1557" y="853"/>
                  </a:lnTo>
                  <a:lnTo>
                    <a:pt x="1554" y="846"/>
                  </a:lnTo>
                  <a:lnTo>
                    <a:pt x="1547" y="833"/>
                  </a:lnTo>
                  <a:lnTo>
                    <a:pt x="1543" y="828"/>
                  </a:lnTo>
                  <a:lnTo>
                    <a:pt x="1539" y="823"/>
                  </a:lnTo>
                  <a:lnTo>
                    <a:pt x="1535" y="818"/>
                  </a:lnTo>
                  <a:lnTo>
                    <a:pt x="1531" y="813"/>
                  </a:lnTo>
                  <a:lnTo>
                    <a:pt x="1526" y="808"/>
                  </a:lnTo>
                  <a:lnTo>
                    <a:pt x="1520" y="804"/>
                  </a:lnTo>
                  <a:lnTo>
                    <a:pt x="1510" y="796"/>
                  </a:lnTo>
                  <a:lnTo>
                    <a:pt x="1505" y="793"/>
                  </a:lnTo>
                  <a:lnTo>
                    <a:pt x="1499" y="790"/>
                  </a:lnTo>
                  <a:lnTo>
                    <a:pt x="1487" y="785"/>
                  </a:lnTo>
                  <a:lnTo>
                    <a:pt x="1481" y="782"/>
                  </a:lnTo>
                  <a:lnTo>
                    <a:pt x="1474" y="781"/>
                  </a:lnTo>
                  <a:lnTo>
                    <a:pt x="1460" y="778"/>
                  </a:lnTo>
                  <a:lnTo>
                    <a:pt x="1453" y="777"/>
                  </a:lnTo>
                  <a:lnTo>
                    <a:pt x="1446" y="776"/>
                  </a:lnTo>
                  <a:lnTo>
                    <a:pt x="1431" y="776"/>
                  </a:lnTo>
                  <a:close/>
                  <a:moveTo>
                    <a:pt x="950" y="1059"/>
                  </a:moveTo>
                  <a:lnTo>
                    <a:pt x="942" y="1058"/>
                  </a:lnTo>
                  <a:lnTo>
                    <a:pt x="932" y="1057"/>
                  </a:lnTo>
                  <a:lnTo>
                    <a:pt x="924" y="1055"/>
                  </a:lnTo>
                  <a:lnTo>
                    <a:pt x="917" y="1053"/>
                  </a:lnTo>
                  <a:lnTo>
                    <a:pt x="909" y="1050"/>
                  </a:lnTo>
                  <a:lnTo>
                    <a:pt x="902" y="1045"/>
                  </a:lnTo>
                  <a:lnTo>
                    <a:pt x="896" y="1040"/>
                  </a:lnTo>
                  <a:lnTo>
                    <a:pt x="893" y="1038"/>
                  </a:lnTo>
                  <a:lnTo>
                    <a:pt x="890" y="1035"/>
                  </a:lnTo>
                  <a:lnTo>
                    <a:pt x="886" y="1032"/>
                  </a:lnTo>
                  <a:lnTo>
                    <a:pt x="884" y="1029"/>
                  </a:lnTo>
                  <a:lnTo>
                    <a:pt x="879" y="1023"/>
                  </a:lnTo>
                  <a:lnTo>
                    <a:pt x="875" y="1015"/>
                  </a:lnTo>
                  <a:lnTo>
                    <a:pt x="872" y="1008"/>
                  </a:lnTo>
                  <a:lnTo>
                    <a:pt x="869" y="1000"/>
                  </a:lnTo>
                  <a:lnTo>
                    <a:pt x="867" y="991"/>
                  </a:lnTo>
                  <a:lnTo>
                    <a:pt x="866" y="982"/>
                  </a:lnTo>
                  <a:lnTo>
                    <a:pt x="866" y="973"/>
                  </a:lnTo>
                  <a:lnTo>
                    <a:pt x="866" y="962"/>
                  </a:lnTo>
                  <a:lnTo>
                    <a:pt x="867" y="953"/>
                  </a:lnTo>
                  <a:lnTo>
                    <a:pt x="869" y="945"/>
                  </a:lnTo>
                  <a:lnTo>
                    <a:pt x="872" y="936"/>
                  </a:lnTo>
                  <a:lnTo>
                    <a:pt x="875" y="929"/>
                  </a:lnTo>
                  <a:lnTo>
                    <a:pt x="879" y="922"/>
                  </a:lnTo>
                  <a:lnTo>
                    <a:pt x="884" y="915"/>
                  </a:lnTo>
                  <a:lnTo>
                    <a:pt x="890" y="909"/>
                  </a:lnTo>
                  <a:lnTo>
                    <a:pt x="896" y="904"/>
                  </a:lnTo>
                  <a:lnTo>
                    <a:pt x="902" y="899"/>
                  </a:lnTo>
                  <a:lnTo>
                    <a:pt x="906" y="897"/>
                  </a:lnTo>
                  <a:lnTo>
                    <a:pt x="909" y="896"/>
                  </a:lnTo>
                  <a:lnTo>
                    <a:pt x="917" y="892"/>
                  </a:lnTo>
                  <a:lnTo>
                    <a:pt x="924" y="890"/>
                  </a:lnTo>
                  <a:lnTo>
                    <a:pt x="932" y="887"/>
                  </a:lnTo>
                  <a:lnTo>
                    <a:pt x="942" y="886"/>
                  </a:lnTo>
                  <a:lnTo>
                    <a:pt x="950" y="886"/>
                  </a:lnTo>
                  <a:lnTo>
                    <a:pt x="959" y="886"/>
                  </a:lnTo>
                  <a:lnTo>
                    <a:pt x="967" y="887"/>
                  </a:lnTo>
                  <a:lnTo>
                    <a:pt x="976" y="890"/>
                  </a:lnTo>
                  <a:lnTo>
                    <a:pt x="984" y="892"/>
                  </a:lnTo>
                  <a:lnTo>
                    <a:pt x="991" y="896"/>
                  </a:lnTo>
                  <a:lnTo>
                    <a:pt x="999" y="899"/>
                  </a:lnTo>
                  <a:lnTo>
                    <a:pt x="1005" y="904"/>
                  </a:lnTo>
                  <a:lnTo>
                    <a:pt x="1011" y="909"/>
                  </a:lnTo>
                  <a:lnTo>
                    <a:pt x="1014" y="912"/>
                  </a:lnTo>
                  <a:lnTo>
                    <a:pt x="1016" y="915"/>
                  </a:lnTo>
                  <a:lnTo>
                    <a:pt x="1022" y="922"/>
                  </a:lnTo>
                  <a:lnTo>
                    <a:pt x="1026" y="929"/>
                  </a:lnTo>
                  <a:lnTo>
                    <a:pt x="1029" y="936"/>
                  </a:lnTo>
                  <a:lnTo>
                    <a:pt x="1032" y="945"/>
                  </a:lnTo>
                  <a:lnTo>
                    <a:pt x="1034" y="953"/>
                  </a:lnTo>
                  <a:lnTo>
                    <a:pt x="1035" y="962"/>
                  </a:lnTo>
                  <a:lnTo>
                    <a:pt x="1035" y="973"/>
                  </a:lnTo>
                  <a:lnTo>
                    <a:pt x="1035" y="982"/>
                  </a:lnTo>
                  <a:lnTo>
                    <a:pt x="1034" y="991"/>
                  </a:lnTo>
                  <a:lnTo>
                    <a:pt x="1032" y="1000"/>
                  </a:lnTo>
                  <a:lnTo>
                    <a:pt x="1029" y="1008"/>
                  </a:lnTo>
                  <a:lnTo>
                    <a:pt x="1026" y="1015"/>
                  </a:lnTo>
                  <a:lnTo>
                    <a:pt x="1022" y="1023"/>
                  </a:lnTo>
                  <a:lnTo>
                    <a:pt x="1016" y="1029"/>
                  </a:lnTo>
                  <a:lnTo>
                    <a:pt x="1011" y="1035"/>
                  </a:lnTo>
                  <a:lnTo>
                    <a:pt x="1005" y="1040"/>
                  </a:lnTo>
                  <a:lnTo>
                    <a:pt x="999" y="1045"/>
                  </a:lnTo>
                  <a:lnTo>
                    <a:pt x="991" y="1050"/>
                  </a:lnTo>
                  <a:lnTo>
                    <a:pt x="984" y="1053"/>
                  </a:lnTo>
                  <a:lnTo>
                    <a:pt x="976" y="1055"/>
                  </a:lnTo>
                  <a:lnTo>
                    <a:pt x="967" y="1057"/>
                  </a:lnTo>
                  <a:lnTo>
                    <a:pt x="959" y="1058"/>
                  </a:lnTo>
                  <a:lnTo>
                    <a:pt x="950" y="1059"/>
                  </a:lnTo>
                  <a:close/>
                  <a:moveTo>
                    <a:pt x="917" y="1169"/>
                  </a:moveTo>
                  <a:lnTo>
                    <a:pt x="927" y="1168"/>
                  </a:lnTo>
                  <a:lnTo>
                    <a:pt x="937" y="1167"/>
                  </a:lnTo>
                  <a:lnTo>
                    <a:pt x="948" y="1166"/>
                  </a:lnTo>
                  <a:lnTo>
                    <a:pt x="957" y="1164"/>
                  </a:lnTo>
                  <a:lnTo>
                    <a:pt x="966" y="1162"/>
                  </a:lnTo>
                  <a:lnTo>
                    <a:pt x="975" y="1159"/>
                  </a:lnTo>
                  <a:lnTo>
                    <a:pt x="983" y="1156"/>
                  </a:lnTo>
                  <a:lnTo>
                    <a:pt x="990" y="1151"/>
                  </a:lnTo>
                  <a:lnTo>
                    <a:pt x="998" y="1147"/>
                  </a:lnTo>
                  <a:lnTo>
                    <a:pt x="1005" y="1142"/>
                  </a:lnTo>
                  <a:lnTo>
                    <a:pt x="1011" y="1137"/>
                  </a:lnTo>
                  <a:lnTo>
                    <a:pt x="1017" y="1132"/>
                  </a:lnTo>
                  <a:lnTo>
                    <a:pt x="1023" y="1126"/>
                  </a:lnTo>
                  <a:lnTo>
                    <a:pt x="1028" y="1120"/>
                  </a:lnTo>
                  <a:lnTo>
                    <a:pt x="1033" y="1113"/>
                  </a:lnTo>
                  <a:lnTo>
                    <a:pt x="1037" y="1107"/>
                  </a:lnTo>
                  <a:lnTo>
                    <a:pt x="1038" y="1107"/>
                  </a:lnTo>
                  <a:lnTo>
                    <a:pt x="1038" y="1157"/>
                  </a:lnTo>
                  <a:lnTo>
                    <a:pt x="1159" y="1157"/>
                  </a:lnTo>
                  <a:lnTo>
                    <a:pt x="1159" y="788"/>
                  </a:lnTo>
                  <a:lnTo>
                    <a:pt x="1038" y="788"/>
                  </a:lnTo>
                  <a:lnTo>
                    <a:pt x="1038" y="839"/>
                  </a:lnTo>
                  <a:lnTo>
                    <a:pt x="1037" y="839"/>
                  </a:lnTo>
                  <a:lnTo>
                    <a:pt x="1033" y="831"/>
                  </a:lnTo>
                  <a:lnTo>
                    <a:pt x="1028" y="825"/>
                  </a:lnTo>
                  <a:lnTo>
                    <a:pt x="1023" y="819"/>
                  </a:lnTo>
                  <a:lnTo>
                    <a:pt x="1017" y="813"/>
                  </a:lnTo>
                  <a:lnTo>
                    <a:pt x="1011" y="807"/>
                  </a:lnTo>
                  <a:lnTo>
                    <a:pt x="1005" y="802"/>
                  </a:lnTo>
                  <a:lnTo>
                    <a:pt x="998" y="797"/>
                  </a:lnTo>
                  <a:lnTo>
                    <a:pt x="990" y="793"/>
                  </a:lnTo>
                  <a:lnTo>
                    <a:pt x="983" y="789"/>
                  </a:lnTo>
                  <a:lnTo>
                    <a:pt x="975" y="786"/>
                  </a:lnTo>
                  <a:lnTo>
                    <a:pt x="966" y="782"/>
                  </a:lnTo>
                  <a:lnTo>
                    <a:pt x="957" y="780"/>
                  </a:lnTo>
                  <a:lnTo>
                    <a:pt x="948" y="778"/>
                  </a:lnTo>
                  <a:lnTo>
                    <a:pt x="937" y="777"/>
                  </a:lnTo>
                  <a:lnTo>
                    <a:pt x="927" y="776"/>
                  </a:lnTo>
                  <a:lnTo>
                    <a:pt x="917" y="776"/>
                  </a:lnTo>
                  <a:lnTo>
                    <a:pt x="899" y="777"/>
                  </a:lnTo>
                  <a:lnTo>
                    <a:pt x="890" y="777"/>
                  </a:lnTo>
                  <a:lnTo>
                    <a:pt x="881" y="779"/>
                  </a:lnTo>
                  <a:lnTo>
                    <a:pt x="873" y="780"/>
                  </a:lnTo>
                  <a:lnTo>
                    <a:pt x="865" y="784"/>
                  </a:lnTo>
                  <a:lnTo>
                    <a:pt x="856" y="786"/>
                  </a:lnTo>
                  <a:lnTo>
                    <a:pt x="849" y="789"/>
                  </a:lnTo>
                  <a:lnTo>
                    <a:pt x="841" y="792"/>
                  </a:lnTo>
                  <a:lnTo>
                    <a:pt x="833" y="795"/>
                  </a:lnTo>
                  <a:lnTo>
                    <a:pt x="826" y="799"/>
                  </a:lnTo>
                  <a:lnTo>
                    <a:pt x="820" y="804"/>
                  </a:lnTo>
                  <a:lnTo>
                    <a:pt x="813" y="808"/>
                  </a:lnTo>
                  <a:lnTo>
                    <a:pt x="806" y="814"/>
                  </a:lnTo>
                  <a:lnTo>
                    <a:pt x="799" y="820"/>
                  </a:lnTo>
                  <a:lnTo>
                    <a:pt x="793" y="826"/>
                  </a:lnTo>
                  <a:lnTo>
                    <a:pt x="788" y="832"/>
                  </a:lnTo>
                  <a:lnTo>
                    <a:pt x="781" y="839"/>
                  </a:lnTo>
                  <a:lnTo>
                    <a:pt x="776" y="846"/>
                  </a:lnTo>
                  <a:lnTo>
                    <a:pt x="771" y="853"/>
                  </a:lnTo>
                  <a:lnTo>
                    <a:pt x="767" y="861"/>
                  </a:lnTo>
                  <a:lnTo>
                    <a:pt x="763" y="870"/>
                  </a:lnTo>
                  <a:lnTo>
                    <a:pt x="755" y="887"/>
                  </a:lnTo>
                  <a:lnTo>
                    <a:pt x="752" y="897"/>
                  </a:lnTo>
                  <a:lnTo>
                    <a:pt x="750" y="906"/>
                  </a:lnTo>
                  <a:lnTo>
                    <a:pt x="747" y="917"/>
                  </a:lnTo>
                  <a:lnTo>
                    <a:pt x="746" y="927"/>
                  </a:lnTo>
                  <a:lnTo>
                    <a:pt x="744" y="937"/>
                  </a:lnTo>
                  <a:lnTo>
                    <a:pt x="743" y="949"/>
                  </a:lnTo>
                  <a:lnTo>
                    <a:pt x="742" y="960"/>
                  </a:lnTo>
                  <a:lnTo>
                    <a:pt x="742" y="973"/>
                  </a:lnTo>
                  <a:lnTo>
                    <a:pt x="742" y="984"/>
                  </a:lnTo>
                  <a:lnTo>
                    <a:pt x="743" y="996"/>
                  </a:lnTo>
                  <a:lnTo>
                    <a:pt x="746" y="1018"/>
                  </a:lnTo>
                  <a:lnTo>
                    <a:pt x="747" y="1029"/>
                  </a:lnTo>
                  <a:lnTo>
                    <a:pt x="750" y="1038"/>
                  </a:lnTo>
                  <a:lnTo>
                    <a:pt x="752" y="1048"/>
                  </a:lnTo>
                  <a:lnTo>
                    <a:pt x="755" y="1058"/>
                  </a:lnTo>
                  <a:lnTo>
                    <a:pt x="759" y="1066"/>
                  </a:lnTo>
                  <a:lnTo>
                    <a:pt x="763" y="1076"/>
                  </a:lnTo>
                  <a:lnTo>
                    <a:pt x="767" y="1083"/>
                  </a:lnTo>
                  <a:lnTo>
                    <a:pt x="771" y="1091"/>
                  </a:lnTo>
                  <a:lnTo>
                    <a:pt x="776" y="1098"/>
                  </a:lnTo>
                  <a:lnTo>
                    <a:pt x="781" y="1106"/>
                  </a:lnTo>
                  <a:lnTo>
                    <a:pt x="788" y="1113"/>
                  </a:lnTo>
                  <a:lnTo>
                    <a:pt x="793" y="1119"/>
                  </a:lnTo>
                  <a:lnTo>
                    <a:pt x="799" y="1125"/>
                  </a:lnTo>
                  <a:lnTo>
                    <a:pt x="806" y="1131"/>
                  </a:lnTo>
                  <a:lnTo>
                    <a:pt x="813" y="1136"/>
                  </a:lnTo>
                  <a:lnTo>
                    <a:pt x="820" y="1141"/>
                  </a:lnTo>
                  <a:lnTo>
                    <a:pt x="826" y="1145"/>
                  </a:lnTo>
                  <a:lnTo>
                    <a:pt x="833" y="1149"/>
                  </a:lnTo>
                  <a:lnTo>
                    <a:pt x="841" y="1152"/>
                  </a:lnTo>
                  <a:lnTo>
                    <a:pt x="849" y="1157"/>
                  </a:lnTo>
                  <a:lnTo>
                    <a:pt x="856" y="1159"/>
                  </a:lnTo>
                  <a:lnTo>
                    <a:pt x="865" y="1162"/>
                  </a:lnTo>
                  <a:lnTo>
                    <a:pt x="873" y="1164"/>
                  </a:lnTo>
                  <a:lnTo>
                    <a:pt x="881" y="1165"/>
                  </a:lnTo>
                  <a:lnTo>
                    <a:pt x="890" y="1167"/>
                  </a:lnTo>
                  <a:lnTo>
                    <a:pt x="899" y="1168"/>
                  </a:lnTo>
                  <a:lnTo>
                    <a:pt x="917" y="1169"/>
                  </a:lnTo>
                  <a:close/>
                  <a:moveTo>
                    <a:pt x="472" y="599"/>
                  </a:moveTo>
                  <a:lnTo>
                    <a:pt x="351" y="599"/>
                  </a:lnTo>
                  <a:lnTo>
                    <a:pt x="351" y="1157"/>
                  </a:lnTo>
                  <a:lnTo>
                    <a:pt x="472" y="1157"/>
                  </a:lnTo>
                  <a:lnTo>
                    <a:pt x="472" y="972"/>
                  </a:lnTo>
                  <a:lnTo>
                    <a:pt x="473" y="960"/>
                  </a:lnTo>
                  <a:lnTo>
                    <a:pt x="474" y="949"/>
                  </a:lnTo>
                  <a:lnTo>
                    <a:pt x="475" y="939"/>
                  </a:lnTo>
                  <a:lnTo>
                    <a:pt x="476" y="934"/>
                  </a:lnTo>
                  <a:lnTo>
                    <a:pt x="478" y="930"/>
                  </a:lnTo>
                  <a:lnTo>
                    <a:pt x="480" y="922"/>
                  </a:lnTo>
                  <a:lnTo>
                    <a:pt x="484" y="914"/>
                  </a:lnTo>
                  <a:lnTo>
                    <a:pt x="487" y="908"/>
                  </a:lnTo>
                  <a:lnTo>
                    <a:pt x="493" y="902"/>
                  </a:lnTo>
                  <a:lnTo>
                    <a:pt x="498" y="898"/>
                  </a:lnTo>
                  <a:lnTo>
                    <a:pt x="503" y="894"/>
                  </a:lnTo>
                  <a:lnTo>
                    <a:pt x="509" y="890"/>
                  </a:lnTo>
                  <a:lnTo>
                    <a:pt x="515" y="886"/>
                  </a:lnTo>
                  <a:lnTo>
                    <a:pt x="522" y="884"/>
                  </a:lnTo>
                  <a:lnTo>
                    <a:pt x="528" y="883"/>
                  </a:lnTo>
                  <a:lnTo>
                    <a:pt x="535" y="882"/>
                  </a:lnTo>
                  <a:lnTo>
                    <a:pt x="544" y="882"/>
                  </a:lnTo>
                  <a:lnTo>
                    <a:pt x="551" y="882"/>
                  </a:lnTo>
                  <a:lnTo>
                    <a:pt x="559" y="883"/>
                  </a:lnTo>
                  <a:lnTo>
                    <a:pt x="565" y="884"/>
                  </a:lnTo>
                  <a:lnTo>
                    <a:pt x="573" y="886"/>
                  </a:lnTo>
                  <a:lnTo>
                    <a:pt x="578" y="890"/>
                  </a:lnTo>
                  <a:lnTo>
                    <a:pt x="584" y="893"/>
                  </a:lnTo>
                  <a:lnTo>
                    <a:pt x="589" y="897"/>
                  </a:lnTo>
                  <a:lnTo>
                    <a:pt x="591" y="899"/>
                  </a:lnTo>
                  <a:lnTo>
                    <a:pt x="593" y="901"/>
                  </a:lnTo>
                  <a:lnTo>
                    <a:pt x="598" y="906"/>
                  </a:lnTo>
                  <a:lnTo>
                    <a:pt x="601" y="912"/>
                  </a:lnTo>
                  <a:lnTo>
                    <a:pt x="604" y="919"/>
                  </a:lnTo>
                  <a:lnTo>
                    <a:pt x="606" y="926"/>
                  </a:lnTo>
                  <a:lnTo>
                    <a:pt x="608" y="934"/>
                  </a:lnTo>
                  <a:lnTo>
                    <a:pt x="609" y="943"/>
                  </a:lnTo>
                  <a:lnTo>
                    <a:pt x="610" y="952"/>
                  </a:lnTo>
                  <a:lnTo>
                    <a:pt x="610" y="962"/>
                  </a:lnTo>
                  <a:lnTo>
                    <a:pt x="610" y="1157"/>
                  </a:lnTo>
                  <a:lnTo>
                    <a:pt x="731" y="1157"/>
                  </a:lnTo>
                  <a:lnTo>
                    <a:pt x="731" y="928"/>
                  </a:lnTo>
                  <a:lnTo>
                    <a:pt x="731" y="919"/>
                  </a:lnTo>
                  <a:lnTo>
                    <a:pt x="730" y="909"/>
                  </a:lnTo>
                  <a:lnTo>
                    <a:pt x="730" y="900"/>
                  </a:lnTo>
                  <a:lnTo>
                    <a:pt x="727" y="892"/>
                  </a:lnTo>
                  <a:lnTo>
                    <a:pt x="726" y="883"/>
                  </a:lnTo>
                  <a:lnTo>
                    <a:pt x="724" y="875"/>
                  </a:lnTo>
                  <a:lnTo>
                    <a:pt x="720" y="860"/>
                  </a:lnTo>
                  <a:lnTo>
                    <a:pt x="718" y="853"/>
                  </a:lnTo>
                  <a:lnTo>
                    <a:pt x="715" y="846"/>
                  </a:lnTo>
                  <a:lnTo>
                    <a:pt x="709" y="833"/>
                  </a:lnTo>
                  <a:lnTo>
                    <a:pt x="705" y="828"/>
                  </a:lnTo>
                  <a:lnTo>
                    <a:pt x="700" y="823"/>
                  </a:lnTo>
                  <a:lnTo>
                    <a:pt x="696" y="818"/>
                  </a:lnTo>
                  <a:lnTo>
                    <a:pt x="692" y="813"/>
                  </a:lnTo>
                  <a:lnTo>
                    <a:pt x="687" y="808"/>
                  </a:lnTo>
                  <a:lnTo>
                    <a:pt x="682" y="804"/>
                  </a:lnTo>
                  <a:lnTo>
                    <a:pt x="671" y="796"/>
                  </a:lnTo>
                  <a:lnTo>
                    <a:pt x="666" y="793"/>
                  </a:lnTo>
                  <a:lnTo>
                    <a:pt x="660" y="790"/>
                  </a:lnTo>
                  <a:lnTo>
                    <a:pt x="648" y="785"/>
                  </a:lnTo>
                  <a:lnTo>
                    <a:pt x="641" y="782"/>
                  </a:lnTo>
                  <a:lnTo>
                    <a:pt x="635" y="781"/>
                  </a:lnTo>
                  <a:lnTo>
                    <a:pt x="621" y="778"/>
                  </a:lnTo>
                  <a:lnTo>
                    <a:pt x="614" y="777"/>
                  </a:lnTo>
                  <a:lnTo>
                    <a:pt x="607" y="776"/>
                  </a:lnTo>
                  <a:lnTo>
                    <a:pt x="592" y="776"/>
                  </a:lnTo>
                  <a:lnTo>
                    <a:pt x="582" y="776"/>
                  </a:lnTo>
                  <a:lnTo>
                    <a:pt x="573" y="777"/>
                  </a:lnTo>
                  <a:lnTo>
                    <a:pt x="563" y="778"/>
                  </a:lnTo>
                  <a:lnTo>
                    <a:pt x="555" y="780"/>
                  </a:lnTo>
                  <a:lnTo>
                    <a:pt x="547" y="782"/>
                  </a:lnTo>
                  <a:lnTo>
                    <a:pt x="538" y="785"/>
                  </a:lnTo>
                  <a:lnTo>
                    <a:pt x="530" y="788"/>
                  </a:lnTo>
                  <a:lnTo>
                    <a:pt x="523" y="792"/>
                  </a:lnTo>
                  <a:lnTo>
                    <a:pt x="515" y="796"/>
                  </a:lnTo>
                  <a:lnTo>
                    <a:pt x="508" y="800"/>
                  </a:lnTo>
                  <a:lnTo>
                    <a:pt x="502" y="805"/>
                  </a:lnTo>
                  <a:lnTo>
                    <a:pt x="496" y="811"/>
                  </a:lnTo>
                  <a:lnTo>
                    <a:pt x="489" y="817"/>
                  </a:lnTo>
                  <a:lnTo>
                    <a:pt x="484" y="823"/>
                  </a:lnTo>
                  <a:lnTo>
                    <a:pt x="474" y="837"/>
                  </a:lnTo>
                  <a:lnTo>
                    <a:pt x="472" y="837"/>
                  </a:lnTo>
                  <a:lnTo>
                    <a:pt x="472" y="599"/>
                  </a:lnTo>
                  <a:close/>
                  <a:moveTo>
                    <a:pt x="214" y="1169"/>
                  </a:moveTo>
                  <a:lnTo>
                    <a:pt x="233" y="1168"/>
                  </a:lnTo>
                  <a:lnTo>
                    <a:pt x="251" y="1166"/>
                  </a:lnTo>
                  <a:lnTo>
                    <a:pt x="268" y="1163"/>
                  </a:lnTo>
                  <a:lnTo>
                    <a:pt x="276" y="1162"/>
                  </a:lnTo>
                  <a:lnTo>
                    <a:pt x="285" y="1160"/>
                  </a:lnTo>
                  <a:lnTo>
                    <a:pt x="293" y="1157"/>
                  </a:lnTo>
                  <a:lnTo>
                    <a:pt x="301" y="1154"/>
                  </a:lnTo>
                  <a:lnTo>
                    <a:pt x="309" y="1151"/>
                  </a:lnTo>
                  <a:lnTo>
                    <a:pt x="317" y="1148"/>
                  </a:lnTo>
                  <a:lnTo>
                    <a:pt x="333" y="1141"/>
                  </a:lnTo>
                  <a:lnTo>
                    <a:pt x="340" y="1137"/>
                  </a:lnTo>
                  <a:lnTo>
                    <a:pt x="347" y="1133"/>
                  </a:lnTo>
                  <a:lnTo>
                    <a:pt x="297" y="1036"/>
                  </a:lnTo>
                  <a:lnTo>
                    <a:pt x="289" y="1041"/>
                  </a:lnTo>
                  <a:lnTo>
                    <a:pt x="281" y="1045"/>
                  </a:lnTo>
                  <a:lnTo>
                    <a:pt x="271" y="1050"/>
                  </a:lnTo>
                  <a:lnTo>
                    <a:pt x="267" y="1052"/>
                  </a:lnTo>
                  <a:lnTo>
                    <a:pt x="263" y="1053"/>
                  </a:lnTo>
                  <a:lnTo>
                    <a:pt x="253" y="1055"/>
                  </a:lnTo>
                  <a:lnTo>
                    <a:pt x="242" y="1057"/>
                  </a:lnTo>
                  <a:lnTo>
                    <a:pt x="232" y="1058"/>
                  </a:lnTo>
                  <a:lnTo>
                    <a:pt x="219" y="1059"/>
                  </a:lnTo>
                  <a:lnTo>
                    <a:pt x="210" y="1058"/>
                  </a:lnTo>
                  <a:lnTo>
                    <a:pt x="202" y="1057"/>
                  </a:lnTo>
                  <a:lnTo>
                    <a:pt x="193" y="1055"/>
                  </a:lnTo>
                  <a:lnTo>
                    <a:pt x="185" y="1053"/>
                  </a:lnTo>
                  <a:lnTo>
                    <a:pt x="178" y="1050"/>
                  </a:lnTo>
                  <a:lnTo>
                    <a:pt x="174" y="1047"/>
                  </a:lnTo>
                  <a:lnTo>
                    <a:pt x="170" y="1045"/>
                  </a:lnTo>
                  <a:lnTo>
                    <a:pt x="163" y="1041"/>
                  </a:lnTo>
                  <a:lnTo>
                    <a:pt x="157" y="1036"/>
                  </a:lnTo>
                  <a:lnTo>
                    <a:pt x="151" y="1030"/>
                  </a:lnTo>
                  <a:lnTo>
                    <a:pt x="145" y="1024"/>
                  </a:lnTo>
                  <a:lnTo>
                    <a:pt x="140" y="1016"/>
                  </a:lnTo>
                  <a:lnTo>
                    <a:pt x="137" y="1009"/>
                  </a:lnTo>
                  <a:lnTo>
                    <a:pt x="134" y="1001"/>
                  </a:lnTo>
                  <a:lnTo>
                    <a:pt x="131" y="991"/>
                  </a:lnTo>
                  <a:lnTo>
                    <a:pt x="130" y="982"/>
                  </a:lnTo>
                  <a:lnTo>
                    <a:pt x="129" y="973"/>
                  </a:lnTo>
                  <a:lnTo>
                    <a:pt x="130" y="962"/>
                  </a:lnTo>
                  <a:lnTo>
                    <a:pt x="131" y="957"/>
                  </a:lnTo>
                  <a:lnTo>
                    <a:pt x="131" y="953"/>
                  </a:lnTo>
                  <a:lnTo>
                    <a:pt x="132" y="948"/>
                  </a:lnTo>
                  <a:lnTo>
                    <a:pt x="134" y="944"/>
                  </a:lnTo>
                  <a:lnTo>
                    <a:pt x="135" y="939"/>
                  </a:lnTo>
                  <a:lnTo>
                    <a:pt x="137" y="935"/>
                  </a:lnTo>
                  <a:lnTo>
                    <a:pt x="140" y="928"/>
                  </a:lnTo>
                  <a:lnTo>
                    <a:pt x="142" y="924"/>
                  </a:lnTo>
                  <a:lnTo>
                    <a:pt x="145" y="921"/>
                  </a:lnTo>
                  <a:lnTo>
                    <a:pt x="148" y="918"/>
                  </a:lnTo>
                  <a:lnTo>
                    <a:pt x="151" y="914"/>
                  </a:lnTo>
                  <a:lnTo>
                    <a:pt x="157" y="908"/>
                  </a:lnTo>
                  <a:lnTo>
                    <a:pt x="163" y="903"/>
                  </a:lnTo>
                  <a:lnTo>
                    <a:pt x="170" y="899"/>
                  </a:lnTo>
                  <a:lnTo>
                    <a:pt x="178" y="895"/>
                  </a:lnTo>
                  <a:lnTo>
                    <a:pt x="185" y="892"/>
                  </a:lnTo>
                  <a:lnTo>
                    <a:pt x="189" y="891"/>
                  </a:lnTo>
                  <a:lnTo>
                    <a:pt x="193" y="890"/>
                  </a:lnTo>
                  <a:lnTo>
                    <a:pt x="202" y="887"/>
                  </a:lnTo>
                  <a:lnTo>
                    <a:pt x="210" y="886"/>
                  </a:lnTo>
                  <a:lnTo>
                    <a:pt x="219" y="886"/>
                  </a:lnTo>
                  <a:lnTo>
                    <a:pt x="232" y="886"/>
                  </a:lnTo>
                  <a:lnTo>
                    <a:pt x="242" y="887"/>
                  </a:lnTo>
                  <a:lnTo>
                    <a:pt x="253" y="890"/>
                  </a:lnTo>
                  <a:lnTo>
                    <a:pt x="263" y="892"/>
                  </a:lnTo>
                  <a:lnTo>
                    <a:pt x="271" y="895"/>
                  </a:lnTo>
                  <a:lnTo>
                    <a:pt x="276" y="897"/>
                  </a:lnTo>
                  <a:lnTo>
                    <a:pt x="281" y="899"/>
                  </a:lnTo>
                  <a:lnTo>
                    <a:pt x="289" y="903"/>
                  </a:lnTo>
                  <a:lnTo>
                    <a:pt x="297" y="908"/>
                  </a:lnTo>
                  <a:lnTo>
                    <a:pt x="347" y="812"/>
                  </a:lnTo>
                  <a:lnTo>
                    <a:pt x="333" y="803"/>
                  </a:lnTo>
                  <a:lnTo>
                    <a:pt x="317" y="797"/>
                  </a:lnTo>
                  <a:lnTo>
                    <a:pt x="301" y="791"/>
                  </a:lnTo>
                  <a:lnTo>
                    <a:pt x="285" y="786"/>
                  </a:lnTo>
                  <a:lnTo>
                    <a:pt x="268" y="781"/>
                  </a:lnTo>
                  <a:lnTo>
                    <a:pt x="251" y="778"/>
                  </a:lnTo>
                  <a:lnTo>
                    <a:pt x="233" y="776"/>
                  </a:lnTo>
                  <a:lnTo>
                    <a:pt x="223" y="776"/>
                  </a:lnTo>
                  <a:lnTo>
                    <a:pt x="214" y="776"/>
                  </a:lnTo>
                  <a:lnTo>
                    <a:pt x="203" y="776"/>
                  </a:lnTo>
                  <a:lnTo>
                    <a:pt x="192" y="777"/>
                  </a:lnTo>
                  <a:lnTo>
                    <a:pt x="181" y="778"/>
                  </a:lnTo>
                  <a:lnTo>
                    <a:pt x="170" y="779"/>
                  </a:lnTo>
                  <a:lnTo>
                    <a:pt x="161" y="781"/>
                  </a:lnTo>
                  <a:lnTo>
                    <a:pt x="151" y="785"/>
                  </a:lnTo>
                  <a:lnTo>
                    <a:pt x="141" y="787"/>
                  </a:lnTo>
                  <a:lnTo>
                    <a:pt x="132" y="790"/>
                  </a:lnTo>
                  <a:lnTo>
                    <a:pt x="123" y="794"/>
                  </a:lnTo>
                  <a:lnTo>
                    <a:pt x="114" y="797"/>
                  </a:lnTo>
                  <a:lnTo>
                    <a:pt x="106" y="802"/>
                  </a:lnTo>
                  <a:lnTo>
                    <a:pt x="98" y="806"/>
                  </a:lnTo>
                  <a:lnTo>
                    <a:pt x="89" y="812"/>
                  </a:lnTo>
                  <a:lnTo>
                    <a:pt x="82" y="817"/>
                  </a:lnTo>
                  <a:lnTo>
                    <a:pt x="68" y="829"/>
                  </a:lnTo>
                  <a:lnTo>
                    <a:pt x="60" y="837"/>
                  </a:lnTo>
                  <a:lnTo>
                    <a:pt x="54" y="843"/>
                  </a:lnTo>
                  <a:lnTo>
                    <a:pt x="48" y="850"/>
                  </a:lnTo>
                  <a:lnTo>
                    <a:pt x="43" y="858"/>
                  </a:lnTo>
                  <a:lnTo>
                    <a:pt x="37" y="866"/>
                  </a:lnTo>
                  <a:lnTo>
                    <a:pt x="32" y="874"/>
                  </a:lnTo>
                  <a:lnTo>
                    <a:pt x="28" y="882"/>
                  </a:lnTo>
                  <a:lnTo>
                    <a:pt x="24" y="892"/>
                  </a:lnTo>
                  <a:lnTo>
                    <a:pt x="21" y="901"/>
                  </a:lnTo>
                  <a:lnTo>
                    <a:pt x="18" y="910"/>
                  </a:lnTo>
                  <a:lnTo>
                    <a:pt x="16" y="920"/>
                  </a:lnTo>
                  <a:lnTo>
                    <a:pt x="14" y="929"/>
                  </a:lnTo>
                  <a:lnTo>
                    <a:pt x="11" y="939"/>
                  </a:lnTo>
                  <a:lnTo>
                    <a:pt x="10" y="950"/>
                  </a:lnTo>
                  <a:lnTo>
                    <a:pt x="9" y="961"/>
                  </a:lnTo>
                  <a:lnTo>
                    <a:pt x="9" y="973"/>
                  </a:lnTo>
                  <a:lnTo>
                    <a:pt x="9" y="983"/>
                  </a:lnTo>
                  <a:lnTo>
                    <a:pt x="10" y="994"/>
                  </a:lnTo>
                  <a:lnTo>
                    <a:pt x="11" y="1005"/>
                  </a:lnTo>
                  <a:lnTo>
                    <a:pt x="14" y="1015"/>
                  </a:lnTo>
                  <a:lnTo>
                    <a:pt x="16" y="1025"/>
                  </a:lnTo>
                  <a:lnTo>
                    <a:pt x="18" y="1035"/>
                  </a:lnTo>
                  <a:lnTo>
                    <a:pt x="21" y="1044"/>
                  </a:lnTo>
                  <a:lnTo>
                    <a:pt x="24" y="1053"/>
                  </a:lnTo>
                  <a:lnTo>
                    <a:pt x="28" y="1062"/>
                  </a:lnTo>
                  <a:lnTo>
                    <a:pt x="32" y="1070"/>
                  </a:lnTo>
                  <a:lnTo>
                    <a:pt x="37" y="1079"/>
                  </a:lnTo>
                  <a:lnTo>
                    <a:pt x="43" y="1087"/>
                  </a:lnTo>
                  <a:lnTo>
                    <a:pt x="48" y="1094"/>
                  </a:lnTo>
                  <a:lnTo>
                    <a:pt x="54" y="1101"/>
                  </a:lnTo>
                  <a:lnTo>
                    <a:pt x="60" y="1109"/>
                  </a:lnTo>
                  <a:lnTo>
                    <a:pt x="68" y="1115"/>
                  </a:lnTo>
                  <a:lnTo>
                    <a:pt x="71" y="1118"/>
                  </a:lnTo>
                  <a:lnTo>
                    <a:pt x="75" y="1121"/>
                  </a:lnTo>
                  <a:lnTo>
                    <a:pt x="82" y="1127"/>
                  </a:lnTo>
                  <a:lnTo>
                    <a:pt x="89" y="1133"/>
                  </a:lnTo>
                  <a:lnTo>
                    <a:pt x="98" y="1138"/>
                  </a:lnTo>
                  <a:lnTo>
                    <a:pt x="106" y="1143"/>
                  </a:lnTo>
                  <a:lnTo>
                    <a:pt x="114" y="1147"/>
                  </a:lnTo>
                  <a:lnTo>
                    <a:pt x="123" y="1151"/>
                  </a:lnTo>
                  <a:lnTo>
                    <a:pt x="132" y="1154"/>
                  </a:lnTo>
                  <a:lnTo>
                    <a:pt x="141" y="1158"/>
                  </a:lnTo>
                  <a:lnTo>
                    <a:pt x="151" y="1161"/>
                  </a:lnTo>
                  <a:lnTo>
                    <a:pt x="161" y="1163"/>
                  </a:lnTo>
                  <a:lnTo>
                    <a:pt x="170" y="1165"/>
                  </a:lnTo>
                  <a:lnTo>
                    <a:pt x="181" y="1166"/>
                  </a:lnTo>
                  <a:lnTo>
                    <a:pt x="192" y="1167"/>
                  </a:lnTo>
                  <a:lnTo>
                    <a:pt x="203" y="1168"/>
                  </a:lnTo>
                  <a:lnTo>
                    <a:pt x="214" y="116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964"/>
            </a:p>
          </p:txBody>
        </p:sp>
      </p:grpSp>
      <p:grpSp>
        <p:nvGrpSpPr>
          <p:cNvPr id="9" name="Group 8"/>
          <p:cNvGrpSpPr/>
          <p:nvPr userDrawn="1"/>
        </p:nvGrpSpPr>
        <p:grpSpPr>
          <a:xfrm>
            <a:off x="14532667" y="8782642"/>
            <a:ext cx="2016224" cy="554462"/>
            <a:chOff x="10380476" y="6273316"/>
            <a:chExt cx="1440160" cy="396044"/>
          </a:xfrm>
        </p:grpSpPr>
        <p:sp>
          <p:nvSpPr>
            <p:cNvPr id="22" name="Rectangle 21"/>
            <p:cNvSpPr/>
            <p:nvPr userDrawn="1"/>
          </p:nvSpPr>
          <p:spPr>
            <a:xfrm>
              <a:off x="10380476" y="6273316"/>
              <a:ext cx="1440160" cy="396044"/>
            </a:xfrm>
            <a:prstGeom prst="rect">
              <a:avLst/>
            </a:prstGeom>
            <a:solidFill>
              <a:srgbClr val="83D2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964"/>
            </a:p>
          </p:txBody>
        </p:sp>
        <p:sp>
          <p:nvSpPr>
            <p:cNvPr id="21" name="Freeform 6"/>
            <p:cNvSpPr>
              <a:spLocks noChangeAspect="1" noEditPoints="1"/>
            </p:cNvSpPr>
            <p:nvPr userDrawn="1"/>
          </p:nvSpPr>
          <p:spPr bwMode="auto">
            <a:xfrm>
              <a:off x="10561138" y="6342715"/>
              <a:ext cx="1080000" cy="254935"/>
            </a:xfrm>
            <a:custGeom>
              <a:avLst/>
              <a:gdLst>
                <a:gd name="T0" fmla="*/ 317 w 6630"/>
                <a:gd name="T1" fmla="*/ 622 h 1565"/>
                <a:gd name="T2" fmla="*/ 549 w 6630"/>
                <a:gd name="T3" fmla="*/ 281 h 1565"/>
                <a:gd name="T4" fmla="*/ 146 w 6630"/>
                <a:gd name="T5" fmla="*/ 254 h 1565"/>
                <a:gd name="T6" fmla="*/ 2 w 6630"/>
                <a:gd name="T7" fmla="*/ 668 h 1565"/>
                <a:gd name="T8" fmla="*/ 113 w 6630"/>
                <a:gd name="T9" fmla="*/ 1146 h 1565"/>
                <a:gd name="T10" fmla="*/ 417 w 6630"/>
                <a:gd name="T11" fmla="*/ 1452 h 1565"/>
                <a:gd name="T12" fmla="*/ 862 w 6630"/>
                <a:gd name="T13" fmla="*/ 1565 h 1565"/>
                <a:gd name="T14" fmla="*/ 1067 w 6630"/>
                <a:gd name="T15" fmla="*/ 1206 h 1565"/>
                <a:gd name="T16" fmla="*/ 718 w 6630"/>
                <a:gd name="T17" fmla="*/ 1244 h 1565"/>
                <a:gd name="T18" fmla="*/ 395 w 6630"/>
                <a:gd name="T19" fmla="*/ 1028 h 1565"/>
                <a:gd name="T20" fmla="*/ 689 w 6630"/>
                <a:gd name="T21" fmla="*/ 1169 h 1565"/>
                <a:gd name="T22" fmla="*/ 1039 w 6630"/>
                <a:gd name="T23" fmla="*/ 1148 h 1565"/>
                <a:gd name="T24" fmla="*/ 1292 w 6630"/>
                <a:gd name="T25" fmla="*/ 840 h 1565"/>
                <a:gd name="T26" fmla="*/ 1208 w 6630"/>
                <a:gd name="T27" fmla="*/ 435 h 1565"/>
                <a:gd name="T28" fmla="*/ 902 w 6630"/>
                <a:gd name="T29" fmla="*/ 264 h 1565"/>
                <a:gd name="T30" fmla="*/ 518 w 6630"/>
                <a:gd name="T31" fmla="*/ 388 h 1565"/>
                <a:gd name="T32" fmla="*/ 372 w 6630"/>
                <a:gd name="T33" fmla="*/ 702 h 1565"/>
                <a:gd name="T34" fmla="*/ 3593 w 6630"/>
                <a:gd name="T35" fmla="*/ 799 h 1565"/>
                <a:gd name="T36" fmla="*/ 3366 w 6630"/>
                <a:gd name="T37" fmla="*/ 869 h 1565"/>
                <a:gd name="T38" fmla="*/ 3297 w 6630"/>
                <a:gd name="T39" fmla="*/ 570 h 1565"/>
                <a:gd name="T40" fmla="*/ 3419 w 6630"/>
                <a:gd name="T41" fmla="*/ 595 h 1565"/>
                <a:gd name="T42" fmla="*/ 4253 w 6630"/>
                <a:gd name="T43" fmla="*/ 1275 h 1565"/>
                <a:gd name="T44" fmla="*/ 4022 w 6630"/>
                <a:gd name="T45" fmla="*/ 1243 h 1565"/>
                <a:gd name="T46" fmla="*/ 3739 w 6630"/>
                <a:gd name="T47" fmla="*/ 1222 h 1565"/>
                <a:gd name="T48" fmla="*/ 3881 w 6630"/>
                <a:gd name="T49" fmla="*/ 1458 h 1565"/>
                <a:gd name="T50" fmla="*/ 2979 w 6630"/>
                <a:gd name="T51" fmla="*/ 1024 h 1565"/>
                <a:gd name="T52" fmla="*/ 2840 w 6630"/>
                <a:gd name="T53" fmla="*/ 1384 h 1565"/>
                <a:gd name="T54" fmla="*/ 2563 w 6630"/>
                <a:gd name="T55" fmla="*/ 1502 h 1565"/>
                <a:gd name="T56" fmla="*/ 2237 w 6630"/>
                <a:gd name="T57" fmla="*/ 1402 h 1565"/>
                <a:gd name="T58" fmla="*/ 2085 w 6630"/>
                <a:gd name="T59" fmla="*/ 1074 h 1565"/>
                <a:gd name="T60" fmla="*/ 2179 w 6630"/>
                <a:gd name="T61" fmla="*/ 715 h 1565"/>
                <a:gd name="T62" fmla="*/ 2521 w 6630"/>
                <a:gd name="T63" fmla="*/ 546 h 1565"/>
                <a:gd name="T64" fmla="*/ 2907 w 6630"/>
                <a:gd name="T65" fmla="*/ 740 h 1565"/>
                <a:gd name="T66" fmla="*/ 2711 w 6630"/>
                <a:gd name="T67" fmla="*/ 938 h 1565"/>
                <a:gd name="T68" fmla="*/ 2584 w 6630"/>
                <a:gd name="T69" fmla="*/ 769 h 1565"/>
                <a:gd name="T70" fmla="*/ 2395 w 6630"/>
                <a:gd name="T71" fmla="*/ 833 h 1565"/>
                <a:gd name="T72" fmla="*/ 2349 w 6630"/>
                <a:gd name="T73" fmla="*/ 1090 h 1565"/>
                <a:gd name="T74" fmla="*/ 2495 w 6630"/>
                <a:gd name="T75" fmla="*/ 1278 h 1565"/>
                <a:gd name="T76" fmla="*/ 2670 w 6630"/>
                <a:gd name="T77" fmla="*/ 1213 h 1565"/>
                <a:gd name="T78" fmla="*/ 4906 w 6630"/>
                <a:gd name="T79" fmla="*/ 1070 h 1565"/>
                <a:gd name="T80" fmla="*/ 4796 w 6630"/>
                <a:gd name="T81" fmla="*/ 1276 h 1565"/>
                <a:gd name="T82" fmla="*/ 4627 w 6630"/>
                <a:gd name="T83" fmla="*/ 1221 h 1565"/>
                <a:gd name="T84" fmla="*/ 4342 w 6630"/>
                <a:gd name="T85" fmla="*/ 1149 h 1565"/>
                <a:gd name="T86" fmla="*/ 4475 w 6630"/>
                <a:gd name="T87" fmla="*/ 1421 h 1565"/>
                <a:gd name="T88" fmla="*/ 4831 w 6630"/>
                <a:gd name="T89" fmla="*/ 1494 h 1565"/>
                <a:gd name="T90" fmla="*/ 5106 w 6630"/>
                <a:gd name="T91" fmla="*/ 1336 h 1565"/>
                <a:gd name="T92" fmla="*/ 6626 w 6630"/>
                <a:gd name="T93" fmla="*/ 838 h 1565"/>
                <a:gd name="T94" fmla="*/ 6501 w 6630"/>
                <a:gd name="T95" fmla="*/ 594 h 1565"/>
                <a:gd name="T96" fmla="*/ 6231 w 6630"/>
                <a:gd name="T97" fmla="*/ 567 h 1565"/>
                <a:gd name="T98" fmla="*/ 6057 w 6630"/>
                <a:gd name="T99" fmla="*/ 735 h 1565"/>
                <a:gd name="T100" fmla="*/ 5910 w 6630"/>
                <a:gd name="T101" fmla="*/ 572 h 1565"/>
                <a:gd name="T102" fmla="*/ 5667 w 6630"/>
                <a:gd name="T103" fmla="*/ 579 h 1565"/>
                <a:gd name="T104" fmla="*/ 5264 w 6630"/>
                <a:gd name="T105" fmla="*/ 1024 h 1565"/>
                <a:gd name="T106" fmla="*/ 5598 w 6630"/>
                <a:gd name="T107" fmla="*/ 820 h 1565"/>
                <a:gd name="T108" fmla="*/ 5767 w 6630"/>
                <a:gd name="T109" fmla="*/ 817 h 1565"/>
                <a:gd name="T110" fmla="*/ 6077 w 6630"/>
                <a:gd name="T111" fmla="*/ 1011 h 1565"/>
                <a:gd name="T112" fmla="*/ 6169 w 6630"/>
                <a:gd name="T113" fmla="*/ 804 h 1565"/>
                <a:gd name="T114" fmla="*/ 6344 w 6630"/>
                <a:gd name="T115" fmla="*/ 837 h 1565"/>
                <a:gd name="T116" fmla="*/ 1972 w 6630"/>
                <a:gd name="T117" fmla="*/ 324 h 1565"/>
                <a:gd name="T118" fmla="*/ 2079 w 6630"/>
                <a:gd name="T119" fmla="*/ 777 h 1565"/>
                <a:gd name="T120" fmla="*/ 1685 w 6630"/>
                <a:gd name="T121" fmla="*/ 247 h 1565"/>
                <a:gd name="T122" fmla="*/ 1910 w 6630"/>
                <a:gd name="T123" fmla="*/ 98 h 15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630" h="1565">
                  <a:moveTo>
                    <a:pt x="375" y="995"/>
                  </a:moveTo>
                  <a:lnTo>
                    <a:pt x="362" y="972"/>
                  </a:lnTo>
                  <a:lnTo>
                    <a:pt x="351" y="949"/>
                  </a:lnTo>
                  <a:lnTo>
                    <a:pt x="341" y="925"/>
                  </a:lnTo>
                  <a:lnTo>
                    <a:pt x="333" y="901"/>
                  </a:lnTo>
                  <a:lnTo>
                    <a:pt x="329" y="889"/>
                  </a:lnTo>
                  <a:lnTo>
                    <a:pt x="325" y="876"/>
                  </a:lnTo>
                  <a:lnTo>
                    <a:pt x="319" y="851"/>
                  </a:lnTo>
                  <a:lnTo>
                    <a:pt x="314" y="826"/>
                  </a:lnTo>
                  <a:lnTo>
                    <a:pt x="310" y="801"/>
                  </a:lnTo>
                  <a:lnTo>
                    <a:pt x="309" y="788"/>
                  </a:lnTo>
                  <a:lnTo>
                    <a:pt x="308" y="775"/>
                  </a:lnTo>
                  <a:lnTo>
                    <a:pt x="307" y="762"/>
                  </a:lnTo>
                  <a:lnTo>
                    <a:pt x="306" y="749"/>
                  </a:lnTo>
                  <a:lnTo>
                    <a:pt x="306" y="724"/>
                  </a:lnTo>
                  <a:lnTo>
                    <a:pt x="307" y="698"/>
                  </a:lnTo>
                  <a:lnTo>
                    <a:pt x="309" y="673"/>
                  </a:lnTo>
                  <a:lnTo>
                    <a:pt x="311" y="660"/>
                  </a:lnTo>
                  <a:lnTo>
                    <a:pt x="313" y="647"/>
                  </a:lnTo>
                  <a:lnTo>
                    <a:pt x="315" y="635"/>
                  </a:lnTo>
                  <a:lnTo>
                    <a:pt x="317" y="622"/>
                  </a:lnTo>
                  <a:lnTo>
                    <a:pt x="323" y="597"/>
                  </a:lnTo>
                  <a:lnTo>
                    <a:pt x="330" y="572"/>
                  </a:lnTo>
                  <a:lnTo>
                    <a:pt x="338" y="548"/>
                  </a:lnTo>
                  <a:lnTo>
                    <a:pt x="348" y="524"/>
                  </a:lnTo>
                  <a:lnTo>
                    <a:pt x="358" y="500"/>
                  </a:lnTo>
                  <a:lnTo>
                    <a:pt x="364" y="488"/>
                  </a:lnTo>
                  <a:lnTo>
                    <a:pt x="370" y="477"/>
                  </a:lnTo>
                  <a:lnTo>
                    <a:pt x="376" y="465"/>
                  </a:lnTo>
                  <a:lnTo>
                    <a:pt x="383" y="454"/>
                  </a:lnTo>
                  <a:lnTo>
                    <a:pt x="397" y="432"/>
                  </a:lnTo>
                  <a:lnTo>
                    <a:pt x="404" y="421"/>
                  </a:lnTo>
                  <a:lnTo>
                    <a:pt x="412" y="410"/>
                  </a:lnTo>
                  <a:lnTo>
                    <a:pt x="428" y="390"/>
                  </a:lnTo>
                  <a:lnTo>
                    <a:pt x="445" y="369"/>
                  </a:lnTo>
                  <a:lnTo>
                    <a:pt x="464" y="350"/>
                  </a:lnTo>
                  <a:lnTo>
                    <a:pt x="483" y="331"/>
                  </a:lnTo>
                  <a:lnTo>
                    <a:pt x="504" y="314"/>
                  </a:lnTo>
                  <a:lnTo>
                    <a:pt x="515" y="305"/>
                  </a:lnTo>
                  <a:lnTo>
                    <a:pt x="526" y="297"/>
                  </a:lnTo>
                  <a:lnTo>
                    <a:pt x="537" y="289"/>
                  </a:lnTo>
                  <a:lnTo>
                    <a:pt x="549" y="281"/>
                  </a:lnTo>
                  <a:lnTo>
                    <a:pt x="573" y="267"/>
                  </a:lnTo>
                  <a:lnTo>
                    <a:pt x="629" y="57"/>
                  </a:lnTo>
                  <a:lnTo>
                    <a:pt x="419" y="0"/>
                  </a:lnTo>
                  <a:lnTo>
                    <a:pt x="401" y="11"/>
                  </a:lnTo>
                  <a:lnTo>
                    <a:pt x="383" y="23"/>
                  </a:lnTo>
                  <a:lnTo>
                    <a:pt x="365" y="35"/>
                  </a:lnTo>
                  <a:lnTo>
                    <a:pt x="347" y="47"/>
                  </a:lnTo>
                  <a:lnTo>
                    <a:pt x="330" y="60"/>
                  </a:lnTo>
                  <a:lnTo>
                    <a:pt x="314" y="73"/>
                  </a:lnTo>
                  <a:lnTo>
                    <a:pt x="297" y="86"/>
                  </a:lnTo>
                  <a:lnTo>
                    <a:pt x="282" y="100"/>
                  </a:lnTo>
                  <a:lnTo>
                    <a:pt x="266" y="114"/>
                  </a:lnTo>
                  <a:lnTo>
                    <a:pt x="251" y="128"/>
                  </a:lnTo>
                  <a:lnTo>
                    <a:pt x="237" y="143"/>
                  </a:lnTo>
                  <a:lnTo>
                    <a:pt x="222" y="158"/>
                  </a:lnTo>
                  <a:lnTo>
                    <a:pt x="209" y="173"/>
                  </a:lnTo>
                  <a:lnTo>
                    <a:pt x="195" y="188"/>
                  </a:lnTo>
                  <a:lnTo>
                    <a:pt x="182" y="204"/>
                  </a:lnTo>
                  <a:lnTo>
                    <a:pt x="170" y="220"/>
                  </a:lnTo>
                  <a:lnTo>
                    <a:pt x="158" y="237"/>
                  </a:lnTo>
                  <a:lnTo>
                    <a:pt x="146" y="254"/>
                  </a:lnTo>
                  <a:lnTo>
                    <a:pt x="135" y="270"/>
                  </a:lnTo>
                  <a:lnTo>
                    <a:pt x="124" y="288"/>
                  </a:lnTo>
                  <a:lnTo>
                    <a:pt x="114" y="305"/>
                  </a:lnTo>
                  <a:lnTo>
                    <a:pt x="104" y="323"/>
                  </a:lnTo>
                  <a:lnTo>
                    <a:pt x="94" y="341"/>
                  </a:lnTo>
                  <a:lnTo>
                    <a:pt x="85" y="359"/>
                  </a:lnTo>
                  <a:lnTo>
                    <a:pt x="76" y="377"/>
                  </a:lnTo>
                  <a:lnTo>
                    <a:pt x="68" y="395"/>
                  </a:lnTo>
                  <a:lnTo>
                    <a:pt x="61" y="414"/>
                  </a:lnTo>
                  <a:lnTo>
                    <a:pt x="53" y="433"/>
                  </a:lnTo>
                  <a:lnTo>
                    <a:pt x="47" y="452"/>
                  </a:lnTo>
                  <a:lnTo>
                    <a:pt x="40" y="471"/>
                  </a:lnTo>
                  <a:lnTo>
                    <a:pt x="29" y="509"/>
                  </a:lnTo>
                  <a:lnTo>
                    <a:pt x="24" y="529"/>
                  </a:lnTo>
                  <a:lnTo>
                    <a:pt x="19" y="548"/>
                  </a:lnTo>
                  <a:lnTo>
                    <a:pt x="15" y="568"/>
                  </a:lnTo>
                  <a:lnTo>
                    <a:pt x="12" y="588"/>
                  </a:lnTo>
                  <a:lnTo>
                    <a:pt x="9" y="608"/>
                  </a:lnTo>
                  <a:lnTo>
                    <a:pt x="6" y="628"/>
                  </a:lnTo>
                  <a:lnTo>
                    <a:pt x="4" y="648"/>
                  </a:lnTo>
                  <a:lnTo>
                    <a:pt x="2" y="668"/>
                  </a:lnTo>
                  <a:lnTo>
                    <a:pt x="1" y="688"/>
                  </a:lnTo>
                  <a:lnTo>
                    <a:pt x="0" y="708"/>
                  </a:lnTo>
                  <a:lnTo>
                    <a:pt x="0" y="749"/>
                  </a:lnTo>
                  <a:lnTo>
                    <a:pt x="1" y="769"/>
                  </a:lnTo>
                  <a:lnTo>
                    <a:pt x="2" y="790"/>
                  </a:lnTo>
                  <a:lnTo>
                    <a:pt x="4" y="810"/>
                  </a:lnTo>
                  <a:lnTo>
                    <a:pt x="6" y="831"/>
                  </a:lnTo>
                  <a:lnTo>
                    <a:pt x="13" y="871"/>
                  </a:lnTo>
                  <a:lnTo>
                    <a:pt x="16" y="891"/>
                  </a:lnTo>
                  <a:lnTo>
                    <a:pt x="21" y="911"/>
                  </a:lnTo>
                  <a:lnTo>
                    <a:pt x="25" y="932"/>
                  </a:lnTo>
                  <a:lnTo>
                    <a:pt x="31" y="952"/>
                  </a:lnTo>
                  <a:lnTo>
                    <a:pt x="36" y="972"/>
                  </a:lnTo>
                  <a:lnTo>
                    <a:pt x="43" y="991"/>
                  </a:lnTo>
                  <a:lnTo>
                    <a:pt x="57" y="1031"/>
                  </a:lnTo>
                  <a:lnTo>
                    <a:pt x="65" y="1050"/>
                  </a:lnTo>
                  <a:lnTo>
                    <a:pt x="73" y="1070"/>
                  </a:lnTo>
                  <a:lnTo>
                    <a:pt x="82" y="1089"/>
                  </a:lnTo>
                  <a:lnTo>
                    <a:pt x="92" y="1108"/>
                  </a:lnTo>
                  <a:lnTo>
                    <a:pt x="102" y="1127"/>
                  </a:lnTo>
                  <a:lnTo>
                    <a:pt x="113" y="1146"/>
                  </a:lnTo>
                  <a:lnTo>
                    <a:pt x="124" y="1165"/>
                  </a:lnTo>
                  <a:lnTo>
                    <a:pt x="135" y="1183"/>
                  </a:lnTo>
                  <a:lnTo>
                    <a:pt x="147" y="1201"/>
                  </a:lnTo>
                  <a:lnTo>
                    <a:pt x="159" y="1218"/>
                  </a:lnTo>
                  <a:lnTo>
                    <a:pt x="172" y="1235"/>
                  </a:lnTo>
                  <a:lnTo>
                    <a:pt x="185" y="1252"/>
                  </a:lnTo>
                  <a:lnTo>
                    <a:pt x="198" y="1268"/>
                  </a:lnTo>
                  <a:lnTo>
                    <a:pt x="212" y="1284"/>
                  </a:lnTo>
                  <a:lnTo>
                    <a:pt x="226" y="1299"/>
                  </a:lnTo>
                  <a:lnTo>
                    <a:pt x="240" y="1314"/>
                  </a:lnTo>
                  <a:lnTo>
                    <a:pt x="255" y="1329"/>
                  </a:lnTo>
                  <a:lnTo>
                    <a:pt x="270" y="1343"/>
                  </a:lnTo>
                  <a:lnTo>
                    <a:pt x="285" y="1357"/>
                  </a:lnTo>
                  <a:lnTo>
                    <a:pt x="301" y="1370"/>
                  </a:lnTo>
                  <a:lnTo>
                    <a:pt x="317" y="1383"/>
                  </a:lnTo>
                  <a:lnTo>
                    <a:pt x="333" y="1396"/>
                  </a:lnTo>
                  <a:lnTo>
                    <a:pt x="349" y="1408"/>
                  </a:lnTo>
                  <a:lnTo>
                    <a:pt x="366" y="1419"/>
                  </a:lnTo>
                  <a:lnTo>
                    <a:pt x="383" y="1431"/>
                  </a:lnTo>
                  <a:lnTo>
                    <a:pt x="400" y="1441"/>
                  </a:lnTo>
                  <a:lnTo>
                    <a:pt x="417" y="1452"/>
                  </a:lnTo>
                  <a:lnTo>
                    <a:pt x="435" y="1462"/>
                  </a:lnTo>
                  <a:lnTo>
                    <a:pt x="453" y="1471"/>
                  </a:lnTo>
                  <a:lnTo>
                    <a:pt x="471" y="1480"/>
                  </a:lnTo>
                  <a:lnTo>
                    <a:pt x="489" y="1489"/>
                  </a:lnTo>
                  <a:lnTo>
                    <a:pt x="508" y="1497"/>
                  </a:lnTo>
                  <a:lnTo>
                    <a:pt x="526" y="1505"/>
                  </a:lnTo>
                  <a:lnTo>
                    <a:pt x="545" y="1512"/>
                  </a:lnTo>
                  <a:lnTo>
                    <a:pt x="564" y="1519"/>
                  </a:lnTo>
                  <a:lnTo>
                    <a:pt x="583" y="1525"/>
                  </a:lnTo>
                  <a:lnTo>
                    <a:pt x="622" y="1536"/>
                  </a:lnTo>
                  <a:lnTo>
                    <a:pt x="641" y="1541"/>
                  </a:lnTo>
                  <a:lnTo>
                    <a:pt x="661" y="1546"/>
                  </a:lnTo>
                  <a:lnTo>
                    <a:pt x="680" y="1550"/>
                  </a:lnTo>
                  <a:lnTo>
                    <a:pt x="700" y="1554"/>
                  </a:lnTo>
                  <a:lnTo>
                    <a:pt x="720" y="1557"/>
                  </a:lnTo>
                  <a:lnTo>
                    <a:pt x="740" y="1559"/>
                  </a:lnTo>
                  <a:lnTo>
                    <a:pt x="760" y="1561"/>
                  </a:lnTo>
                  <a:lnTo>
                    <a:pt x="780" y="1563"/>
                  </a:lnTo>
                  <a:lnTo>
                    <a:pt x="800" y="1564"/>
                  </a:lnTo>
                  <a:lnTo>
                    <a:pt x="821" y="1565"/>
                  </a:lnTo>
                  <a:lnTo>
                    <a:pt x="862" y="1565"/>
                  </a:lnTo>
                  <a:lnTo>
                    <a:pt x="882" y="1564"/>
                  </a:lnTo>
                  <a:lnTo>
                    <a:pt x="903" y="1563"/>
                  </a:lnTo>
                  <a:lnTo>
                    <a:pt x="923" y="1561"/>
                  </a:lnTo>
                  <a:lnTo>
                    <a:pt x="943" y="1559"/>
                  </a:lnTo>
                  <a:lnTo>
                    <a:pt x="984" y="1553"/>
                  </a:lnTo>
                  <a:lnTo>
                    <a:pt x="1004" y="1549"/>
                  </a:lnTo>
                  <a:lnTo>
                    <a:pt x="1024" y="1545"/>
                  </a:lnTo>
                  <a:lnTo>
                    <a:pt x="1044" y="1540"/>
                  </a:lnTo>
                  <a:lnTo>
                    <a:pt x="1064" y="1535"/>
                  </a:lnTo>
                  <a:lnTo>
                    <a:pt x="1084" y="1529"/>
                  </a:lnTo>
                  <a:lnTo>
                    <a:pt x="1104" y="1522"/>
                  </a:lnTo>
                  <a:lnTo>
                    <a:pt x="1143" y="1508"/>
                  </a:lnTo>
                  <a:lnTo>
                    <a:pt x="1163" y="1500"/>
                  </a:lnTo>
                  <a:lnTo>
                    <a:pt x="1182" y="1492"/>
                  </a:lnTo>
                  <a:lnTo>
                    <a:pt x="1202" y="1483"/>
                  </a:lnTo>
                  <a:lnTo>
                    <a:pt x="1221" y="1473"/>
                  </a:lnTo>
                  <a:lnTo>
                    <a:pt x="1240" y="1463"/>
                  </a:lnTo>
                  <a:lnTo>
                    <a:pt x="1259" y="1453"/>
                  </a:lnTo>
                  <a:lnTo>
                    <a:pt x="1105" y="1187"/>
                  </a:lnTo>
                  <a:lnTo>
                    <a:pt x="1080" y="1200"/>
                  </a:lnTo>
                  <a:lnTo>
                    <a:pt x="1067" y="1206"/>
                  </a:lnTo>
                  <a:lnTo>
                    <a:pt x="1055" y="1212"/>
                  </a:lnTo>
                  <a:lnTo>
                    <a:pt x="1029" y="1223"/>
                  </a:lnTo>
                  <a:lnTo>
                    <a:pt x="1016" y="1227"/>
                  </a:lnTo>
                  <a:lnTo>
                    <a:pt x="1004" y="1232"/>
                  </a:lnTo>
                  <a:lnTo>
                    <a:pt x="991" y="1236"/>
                  </a:lnTo>
                  <a:lnTo>
                    <a:pt x="978" y="1240"/>
                  </a:lnTo>
                  <a:lnTo>
                    <a:pt x="965" y="1243"/>
                  </a:lnTo>
                  <a:lnTo>
                    <a:pt x="952" y="1246"/>
                  </a:lnTo>
                  <a:lnTo>
                    <a:pt x="939" y="1248"/>
                  </a:lnTo>
                  <a:lnTo>
                    <a:pt x="926" y="1251"/>
                  </a:lnTo>
                  <a:lnTo>
                    <a:pt x="899" y="1254"/>
                  </a:lnTo>
                  <a:lnTo>
                    <a:pt x="873" y="1257"/>
                  </a:lnTo>
                  <a:lnTo>
                    <a:pt x="860" y="1257"/>
                  </a:lnTo>
                  <a:lnTo>
                    <a:pt x="847" y="1258"/>
                  </a:lnTo>
                  <a:lnTo>
                    <a:pt x="820" y="1257"/>
                  </a:lnTo>
                  <a:lnTo>
                    <a:pt x="794" y="1256"/>
                  </a:lnTo>
                  <a:lnTo>
                    <a:pt x="768" y="1253"/>
                  </a:lnTo>
                  <a:lnTo>
                    <a:pt x="756" y="1251"/>
                  </a:lnTo>
                  <a:lnTo>
                    <a:pt x="743" y="1249"/>
                  </a:lnTo>
                  <a:lnTo>
                    <a:pt x="730" y="1247"/>
                  </a:lnTo>
                  <a:lnTo>
                    <a:pt x="718" y="1244"/>
                  </a:lnTo>
                  <a:lnTo>
                    <a:pt x="693" y="1238"/>
                  </a:lnTo>
                  <a:lnTo>
                    <a:pt x="680" y="1234"/>
                  </a:lnTo>
                  <a:lnTo>
                    <a:pt x="668" y="1230"/>
                  </a:lnTo>
                  <a:lnTo>
                    <a:pt x="644" y="1222"/>
                  </a:lnTo>
                  <a:lnTo>
                    <a:pt x="632" y="1217"/>
                  </a:lnTo>
                  <a:lnTo>
                    <a:pt x="620" y="1212"/>
                  </a:lnTo>
                  <a:lnTo>
                    <a:pt x="597" y="1201"/>
                  </a:lnTo>
                  <a:lnTo>
                    <a:pt x="574" y="1189"/>
                  </a:lnTo>
                  <a:lnTo>
                    <a:pt x="552" y="1176"/>
                  </a:lnTo>
                  <a:lnTo>
                    <a:pt x="541" y="1170"/>
                  </a:lnTo>
                  <a:lnTo>
                    <a:pt x="531" y="1162"/>
                  </a:lnTo>
                  <a:lnTo>
                    <a:pt x="520" y="1155"/>
                  </a:lnTo>
                  <a:lnTo>
                    <a:pt x="510" y="1148"/>
                  </a:lnTo>
                  <a:lnTo>
                    <a:pt x="490" y="1132"/>
                  </a:lnTo>
                  <a:lnTo>
                    <a:pt x="471" y="1115"/>
                  </a:lnTo>
                  <a:lnTo>
                    <a:pt x="453" y="1097"/>
                  </a:lnTo>
                  <a:lnTo>
                    <a:pt x="444" y="1088"/>
                  </a:lnTo>
                  <a:lnTo>
                    <a:pt x="435" y="1078"/>
                  </a:lnTo>
                  <a:lnTo>
                    <a:pt x="418" y="1059"/>
                  </a:lnTo>
                  <a:lnTo>
                    <a:pt x="403" y="1038"/>
                  </a:lnTo>
                  <a:lnTo>
                    <a:pt x="395" y="1028"/>
                  </a:lnTo>
                  <a:lnTo>
                    <a:pt x="388" y="1017"/>
                  </a:lnTo>
                  <a:lnTo>
                    <a:pt x="381" y="1006"/>
                  </a:lnTo>
                  <a:lnTo>
                    <a:pt x="375" y="995"/>
                  </a:lnTo>
                  <a:close/>
                  <a:moveTo>
                    <a:pt x="431" y="962"/>
                  </a:moveTo>
                  <a:lnTo>
                    <a:pt x="443" y="982"/>
                  </a:lnTo>
                  <a:lnTo>
                    <a:pt x="456" y="1000"/>
                  </a:lnTo>
                  <a:lnTo>
                    <a:pt x="469" y="1018"/>
                  </a:lnTo>
                  <a:lnTo>
                    <a:pt x="484" y="1035"/>
                  </a:lnTo>
                  <a:lnTo>
                    <a:pt x="499" y="1052"/>
                  </a:lnTo>
                  <a:lnTo>
                    <a:pt x="516" y="1067"/>
                  </a:lnTo>
                  <a:lnTo>
                    <a:pt x="532" y="1082"/>
                  </a:lnTo>
                  <a:lnTo>
                    <a:pt x="550" y="1096"/>
                  </a:lnTo>
                  <a:lnTo>
                    <a:pt x="568" y="1109"/>
                  </a:lnTo>
                  <a:lnTo>
                    <a:pt x="587" y="1121"/>
                  </a:lnTo>
                  <a:lnTo>
                    <a:pt x="597" y="1127"/>
                  </a:lnTo>
                  <a:lnTo>
                    <a:pt x="606" y="1133"/>
                  </a:lnTo>
                  <a:lnTo>
                    <a:pt x="626" y="1143"/>
                  </a:lnTo>
                  <a:lnTo>
                    <a:pt x="647" y="1153"/>
                  </a:lnTo>
                  <a:lnTo>
                    <a:pt x="667" y="1161"/>
                  </a:lnTo>
                  <a:lnTo>
                    <a:pt x="678" y="1165"/>
                  </a:lnTo>
                  <a:lnTo>
                    <a:pt x="689" y="1169"/>
                  </a:lnTo>
                  <a:lnTo>
                    <a:pt x="710" y="1175"/>
                  </a:lnTo>
                  <a:lnTo>
                    <a:pt x="721" y="1178"/>
                  </a:lnTo>
                  <a:lnTo>
                    <a:pt x="732" y="1181"/>
                  </a:lnTo>
                  <a:lnTo>
                    <a:pt x="743" y="1183"/>
                  </a:lnTo>
                  <a:lnTo>
                    <a:pt x="754" y="1185"/>
                  </a:lnTo>
                  <a:lnTo>
                    <a:pt x="777" y="1189"/>
                  </a:lnTo>
                  <a:lnTo>
                    <a:pt x="799" y="1191"/>
                  </a:lnTo>
                  <a:lnTo>
                    <a:pt x="811" y="1192"/>
                  </a:lnTo>
                  <a:lnTo>
                    <a:pt x="822" y="1193"/>
                  </a:lnTo>
                  <a:lnTo>
                    <a:pt x="846" y="1193"/>
                  </a:lnTo>
                  <a:lnTo>
                    <a:pt x="858" y="1193"/>
                  </a:lnTo>
                  <a:lnTo>
                    <a:pt x="869" y="1192"/>
                  </a:lnTo>
                  <a:lnTo>
                    <a:pt x="892" y="1190"/>
                  </a:lnTo>
                  <a:lnTo>
                    <a:pt x="904" y="1188"/>
                  </a:lnTo>
                  <a:lnTo>
                    <a:pt x="915" y="1187"/>
                  </a:lnTo>
                  <a:lnTo>
                    <a:pt x="938" y="1182"/>
                  </a:lnTo>
                  <a:lnTo>
                    <a:pt x="961" y="1177"/>
                  </a:lnTo>
                  <a:lnTo>
                    <a:pt x="984" y="1170"/>
                  </a:lnTo>
                  <a:lnTo>
                    <a:pt x="1006" y="1162"/>
                  </a:lnTo>
                  <a:lnTo>
                    <a:pt x="1028" y="1153"/>
                  </a:lnTo>
                  <a:lnTo>
                    <a:pt x="1039" y="1148"/>
                  </a:lnTo>
                  <a:lnTo>
                    <a:pt x="1050" y="1142"/>
                  </a:lnTo>
                  <a:lnTo>
                    <a:pt x="1072" y="1130"/>
                  </a:lnTo>
                  <a:lnTo>
                    <a:pt x="1093" y="1117"/>
                  </a:lnTo>
                  <a:lnTo>
                    <a:pt x="1104" y="1111"/>
                  </a:lnTo>
                  <a:lnTo>
                    <a:pt x="1114" y="1103"/>
                  </a:lnTo>
                  <a:lnTo>
                    <a:pt x="1133" y="1089"/>
                  </a:lnTo>
                  <a:lnTo>
                    <a:pt x="1151" y="1073"/>
                  </a:lnTo>
                  <a:lnTo>
                    <a:pt x="1160" y="1065"/>
                  </a:lnTo>
                  <a:lnTo>
                    <a:pt x="1169" y="1057"/>
                  </a:lnTo>
                  <a:lnTo>
                    <a:pt x="1185" y="1040"/>
                  </a:lnTo>
                  <a:lnTo>
                    <a:pt x="1200" y="1022"/>
                  </a:lnTo>
                  <a:lnTo>
                    <a:pt x="1215" y="1004"/>
                  </a:lnTo>
                  <a:lnTo>
                    <a:pt x="1228" y="985"/>
                  </a:lnTo>
                  <a:lnTo>
                    <a:pt x="1240" y="965"/>
                  </a:lnTo>
                  <a:lnTo>
                    <a:pt x="1246" y="955"/>
                  </a:lnTo>
                  <a:lnTo>
                    <a:pt x="1251" y="945"/>
                  </a:lnTo>
                  <a:lnTo>
                    <a:pt x="1262" y="925"/>
                  </a:lnTo>
                  <a:lnTo>
                    <a:pt x="1271" y="904"/>
                  </a:lnTo>
                  <a:lnTo>
                    <a:pt x="1279" y="883"/>
                  </a:lnTo>
                  <a:lnTo>
                    <a:pt x="1286" y="862"/>
                  </a:lnTo>
                  <a:lnTo>
                    <a:pt x="1292" y="840"/>
                  </a:lnTo>
                  <a:lnTo>
                    <a:pt x="1297" y="818"/>
                  </a:lnTo>
                  <a:lnTo>
                    <a:pt x="1301" y="796"/>
                  </a:lnTo>
                  <a:lnTo>
                    <a:pt x="1304" y="772"/>
                  </a:lnTo>
                  <a:lnTo>
                    <a:pt x="1306" y="750"/>
                  </a:lnTo>
                  <a:lnTo>
                    <a:pt x="1307" y="728"/>
                  </a:lnTo>
                  <a:lnTo>
                    <a:pt x="1307" y="705"/>
                  </a:lnTo>
                  <a:lnTo>
                    <a:pt x="1306" y="683"/>
                  </a:lnTo>
                  <a:lnTo>
                    <a:pt x="1303" y="661"/>
                  </a:lnTo>
                  <a:lnTo>
                    <a:pt x="1300" y="639"/>
                  </a:lnTo>
                  <a:lnTo>
                    <a:pt x="1296" y="617"/>
                  </a:lnTo>
                  <a:lnTo>
                    <a:pt x="1290" y="595"/>
                  </a:lnTo>
                  <a:lnTo>
                    <a:pt x="1284" y="573"/>
                  </a:lnTo>
                  <a:lnTo>
                    <a:pt x="1276" y="552"/>
                  </a:lnTo>
                  <a:lnTo>
                    <a:pt x="1272" y="542"/>
                  </a:lnTo>
                  <a:lnTo>
                    <a:pt x="1267" y="531"/>
                  </a:lnTo>
                  <a:lnTo>
                    <a:pt x="1262" y="521"/>
                  </a:lnTo>
                  <a:lnTo>
                    <a:pt x="1257" y="511"/>
                  </a:lnTo>
                  <a:lnTo>
                    <a:pt x="1247" y="491"/>
                  </a:lnTo>
                  <a:lnTo>
                    <a:pt x="1235" y="472"/>
                  </a:lnTo>
                  <a:lnTo>
                    <a:pt x="1222" y="453"/>
                  </a:lnTo>
                  <a:lnTo>
                    <a:pt x="1208" y="435"/>
                  </a:lnTo>
                  <a:lnTo>
                    <a:pt x="1194" y="418"/>
                  </a:lnTo>
                  <a:lnTo>
                    <a:pt x="1178" y="401"/>
                  </a:lnTo>
                  <a:lnTo>
                    <a:pt x="1162" y="386"/>
                  </a:lnTo>
                  <a:lnTo>
                    <a:pt x="1145" y="371"/>
                  </a:lnTo>
                  <a:lnTo>
                    <a:pt x="1128" y="357"/>
                  </a:lnTo>
                  <a:lnTo>
                    <a:pt x="1119" y="350"/>
                  </a:lnTo>
                  <a:lnTo>
                    <a:pt x="1110" y="344"/>
                  </a:lnTo>
                  <a:lnTo>
                    <a:pt x="1091" y="332"/>
                  </a:lnTo>
                  <a:lnTo>
                    <a:pt x="1082" y="326"/>
                  </a:lnTo>
                  <a:lnTo>
                    <a:pt x="1072" y="320"/>
                  </a:lnTo>
                  <a:lnTo>
                    <a:pt x="1052" y="310"/>
                  </a:lnTo>
                  <a:lnTo>
                    <a:pt x="1032" y="300"/>
                  </a:lnTo>
                  <a:lnTo>
                    <a:pt x="1011" y="292"/>
                  </a:lnTo>
                  <a:lnTo>
                    <a:pt x="1000" y="288"/>
                  </a:lnTo>
                  <a:lnTo>
                    <a:pt x="990" y="284"/>
                  </a:lnTo>
                  <a:lnTo>
                    <a:pt x="968" y="278"/>
                  </a:lnTo>
                  <a:lnTo>
                    <a:pt x="957" y="275"/>
                  </a:lnTo>
                  <a:lnTo>
                    <a:pt x="946" y="272"/>
                  </a:lnTo>
                  <a:lnTo>
                    <a:pt x="935" y="270"/>
                  </a:lnTo>
                  <a:lnTo>
                    <a:pt x="924" y="267"/>
                  </a:lnTo>
                  <a:lnTo>
                    <a:pt x="902" y="264"/>
                  </a:lnTo>
                  <a:lnTo>
                    <a:pt x="879" y="261"/>
                  </a:lnTo>
                  <a:lnTo>
                    <a:pt x="868" y="261"/>
                  </a:lnTo>
                  <a:lnTo>
                    <a:pt x="856" y="260"/>
                  </a:lnTo>
                  <a:lnTo>
                    <a:pt x="833" y="260"/>
                  </a:lnTo>
                  <a:lnTo>
                    <a:pt x="821" y="260"/>
                  </a:lnTo>
                  <a:lnTo>
                    <a:pt x="809" y="261"/>
                  </a:lnTo>
                  <a:lnTo>
                    <a:pt x="786" y="263"/>
                  </a:lnTo>
                  <a:lnTo>
                    <a:pt x="775" y="264"/>
                  </a:lnTo>
                  <a:lnTo>
                    <a:pt x="763" y="266"/>
                  </a:lnTo>
                  <a:lnTo>
                    <a:pt x="740" y="270"/>
                  </a:lnTo>
                  <a:lnTo>
                    <a:pt x="718" y="276"/>
                  </a:lnTo>
                  <a:lnTo>
                    <a:pt x="695" y="283"/>
                  </a:lnTo>
                  <a:lnTo>
                    <a:pt x="672" y="291"/>
                  </a:lnTo>
                  <a:lnTo>
                    <a:pt x="650" y="300"/>
                  </a:lnTo>
                  <a:lnTo>
                    <a:pt x="627" y="311"/>
                  </a:lnTo>
                  <a:lnTo>
                    <a:pt x="605" y="323"/>
                  </a:lnTo>
                  <a:lnTo>
                    <a:pt x="584" y="336"/>
                  </a:lnTo>
                  <a:lnTo>
                    <a:pt x="564" y="350"/>
                  </a:lnTo>
                  <a:lnTo>
                    <a:pt x="545" y="364"/>
                  </a:lnTo>
                  <a:lnTo>
                    <a:pt x="527" y="380"/>
                  </a:lnTo>
                  <a:lnTo>
                    <a:pt x="518" y="388"/>
                  </a:lnTo>
                  <a:lnTo>
                    <a:pt x="510" y="396"/>
                  </a:lnTo>
                  <a:lnTo>
                    <a:pt x="493" y="413"/>
                  </a:lnTo>
                  <a:lnTo>
                    <a:pt x="478" y="431"/>
                  </a:lnTo>
                  <a:lnTo>
                    <a:pt x="471" y="440"/>
                  </a:lnTo>
                  <a:lnTo>
                    <a:pt x="464" y="449"/>
                  </a:lnTo>
                  <a:lnTo>
                    <a:pt x="451" y="468"/>
                  </a:lnTo>
                  <a:lnTo>
                    <a:pt x="438" y="487"/>
                  </a:lnTo>
                  <a:lnTo>
                    <a:pt x="433" y="497"/>
                  </a:lnTo>
                  <a:lnTo>
                    <a:pt x="427" y="507"/>
                  </a:lnTo>
                  <a:lnTo>
                    <a:pt x="417" y="528"/>
                  </a:lnTo>
                  <a:lnTo>
                    <a:pt x="408" y="549"/>
                  </a:lnTo>
                  <a:lnTo>
                    <a:pt x="404" y="559"/>
                  </a:lnTo>
                  <a:lnTo>
                    <a:pt x="400" y="570"/>
                  </a:lnTo>
                  <a:lnTo>
                    <a:pt x="392" y="591"/>
                  </a:lnTo>
                  <a:lnTo>
                    <a:pt x="386" y="613"/>
                  </a:lnTo>
                  <a:lnTo>
                    <a:pt x="384" y="624"/>
                  </a:lnTo>
                  <a:lnTo>
                    <a:pt x="381" y="635"/>
                  </a:lnTo>
                  <a:lnTo>
                    <a:pt x="379" y="646"/>
                  </a:lnTo>
                  <a:lnTo>
                    <a:pt x="377" y="657"/>
                  </a:lnTo>
                  <a:lnTo>
                    <a:pt x="374" y="679"/>
                  </a:lnTo>
                  <a:lnTo>
                    <a:pt x="372" y="702"/>
                  </a:lnTo>
                  <a:lnTo>
                    <a:pt x="371" y="724"/>
                  </a:lnTo>
                  <a:lnTo>
                    <a:pt x="371" y="747"/>
                  </a:lnTo>
                  <a:lnTo>
                    <a:pt x="372" y="758"/>
                  </a:lnTo>
                  <a:lnTo>
                    <a:pt x="372" y="769"/>
                  </a:lnTo>
                  <a:lnTo>
                    <a:pt x="373" y="781"/>
                  </a:lnTo>
                  <a:lnTo>
                    <a:pt x="375" y="792"/>
                  </a:lnTo>
                  <a:lnTo>
                    <a:pt x="378" y="815"/>
                  </a:lnTo>
                  <a:lnTo>
                    <a:pt x="382" y="837"/>
                  </a:lnTo>
                  <a:lnTo>
                    <a:pt x="388" y="858"/>
                  </a:lnTo>
                  <a:lnTo>
                    <a:pt x="394" y="880"/>
                  </a:lnTo>
                  <a:lnTo>
                    <a:pt x="402" y="901"/>
                  </a:lnTo>
                  <a:lnTo>
                    <a:pt x="406" y="911"/>
                  </a:lnTo>
                  <a:lnTo>
                    <a:pt x="410" y="922"/>
                  </a:lnTo>
                  <a:lnTo>
                    <a:pt x="415" y="932"/>
                  </a:lnTo>
                  <a:lnTo>
                    <a:pt x="420" y="942"/>
                  </a:lnTo>
                  <a:lnTo>
                    <a:pt x="431" y="962"/>
                  </a:lnTo>
                  <a:close/>
                  <a:moveTo>
                    <a:pt x="3652" y="820"/>
                  </a:moveTo>
                  <a:lnTo>
                    <a:pt x="3636" y="813"/>
                  </a:lnTo>
                  <a:lnTo>
                    <a:pt x="3621" y="807"/>
                  </a:lnTo>
                  <a:lnTo>
                    <a:pt x="3606" y="802"/>
                  </a:lnTo>
                  <a:lnTo>
                    <a:pt x="3593" y="799"/>
                  </a:lnTo>
                  <a:lnTo>
                    <a:pt x="3579" y="796"/>
                  </a:lnTo>
                  <a:lnTo>
                    <a:pt x="3564" y="795"/>
                  </a:lnTo>
                  <a:lnTo>
                    <a:pt x="3549" y="794"/>
                  </a:lnTo>
                  <a:lnTo>
                    <a:pt x="3533" y="793"/>
                  </a:lnTo>
                  <a:lnTo>
                    <a:pt x="3520" y="794"/>
                  </a:lnTo>
                  <a:lnTo>
                    <a:pt x="3507" y="795"/>
                  </a:lnTo>
                  <a:lnTo>
                    <a:pt x="3494" y="796"/>
                  </a:lnTo>
                  <a:lnTo>
                    <a:pt x="3488" y="797"/>
                  </a:lnTo>
                  <a:lnTo>
                    <a:pt x="3482" y="798"/>
                  </a:lnTo>
                  <a:lnTo>
                    <a:pt x="3470" y="801"/>
                  </a:lnTo>
                  <a:lnTo>
                    <a:pt x="3458" y="804"/>
                  </a:lnTo>
                  <a:lnTo>
                    <a:pt x="3447" y="808"/>
                  </a:lnTo>
                  <a:lnTo>
                    <a:pt x="3437" y="813"/>
                  </a:lnTo>
                  <a:lnTo>
                    <a:pt x="3426" y="818"/>
                  </a:lnTo>
                  <a:lnTo>
                    <a:pt x="3417" y="824"/>
                  </a:lnTo>
                  <a:lnTo>
                    <a:pt x="3407" y="830"/>
                  </a:lnTo>
                  <a:lnTo>
                    <a:pt x="3398" y="837"/>
                  </a:lnTo>
                  <a:lnTo>
                    <a:pt x="3389" y="844"/>
                  </a:lnTo>
                  <a:lnTo>
                    <a:pt x="3381" y="852"/>
                  </a:lnTo>
                  <a:lnTo>
                    <a:pt x="3373" y="860"/>
                  </a:lnTo>
                  <a:lnTo>
                    <a:pt x="3366" y="869"/>
                  </a:lnTo>
                  <a:lnTo>
                    <a:pt x="3359" y="878"/>
                  </a:lnTo>
                  <a:lnTo>
                    <a:pt x="3352" y="888"/>
                  </a:lnTo>
                  <a:lnTo>
                    <a:pt x="3346" y="899"/>
                  </a:lnTo>
                  <a:lnTo>
                    <a:pt x="3340" y="910"/>
                  </a:lnTo>
                  <a:lnTo>
                    <a:pt x="3335" y="921"/>
                  </a:lnTo>
                  <a:lnTo>
                    <a:pt x="3330" y="933"/>
                  </a:lnTo>
                  <a:lnTo>
                    <a:pt x="3325" y="945"/>
                  </a:lnTo>
                  <a:lnTo>
                    <a:pt x="3321" y="958"/>
                  </a:lnTo>
                  <a:lnTo>
                    <a:pt x="3318" y="971"/>
                  </a:lnTo>
                  <a:lnTo>
                    <a:pt x="3315" y="985"/>
                  </a:lnTo>
                  <a:lnTo>
                    <a:pt x="3312" y="999"/>
                  </a:lnTo>
                  <a:lnTo>
                    <a:pt x="3310" y="1013"/>
                  </a:lnTo>
                  <a:lnTo>
                    <a:pt x="3308" y="1028"/>
                  </a:lnTo>
                  <a:lnTo>
                    <a:pt x="3307" y="1044"/>
                  </a:lnTo>
                  <a:lnTo>
                    <a:pt x="3306" y="1059"/>
                  </a:lnTo>
                  <a:lnTo>
                    <a:pt x="3306" y="1076"/>
                  </a:lnTo>
                  <a:lnTo>
                    <a:pt x="3306" y="1478"/>
                  </a:lnTo>
                  <a:lnTo>
                    <a:pt x="3048" y="1478"/>
                  </a:lnTo>
                  <a:lnTo>
                    <a:pt x="3048" y="1024"/>
                  </a:lnTo>
                  <a:lnTo>
                    <a:pt x="3048" y="570"/>
                  </a:lnTo>
                  <a:lnTo>
                    <a:pt x="3297" y="570"/>
                  </a:lnTo>
                  <a:lnTo>
                    <a:pt x="3297" y="776"/>
                  </a:lnTo>
                  <a:lnTo>
                    <a:pt x="3300" y="764"/>
                  </a:lnTo>
                  <a:lnTo>
                    <a:pt x="3304" y="751"/>
                  </a:lnTo>
                  <a:lnTo>
                    <a:pt x="3308" y="739"/>
                  </a:lnTo>
                  <a:lnTo>
                    <a:pt x="3312" y="727"/>
                  </a:lnTo>
                  <a:lnTo>
                    <a:pt x="3317" y="716"/>
                  </a:lnTo>
                  <a:lnTo>
                    <a:pt x="3322" y="705"/>
                  </a:lnTo>
                  <a:lnTo>
                    <a:pt x="3327" y="694"/>
                  </a:lnTo>
                  <a:lnTo>
                    <a:pt x="3333" y="684"/>
                  </a:lnTo>
                  <a:lnTo>
                    <a:pt x="3339" y="674"/>
                  </a:lnTo>
                  <a:lnTo>
                    <a:pt x="3346" y="664"/>
                  </a:lnTo>
                  <a:lnTo>
                    <a:pt x="3352" y="655"/>
                  </a:lnTo>
                  <a:lnTo>
                    <a:pt x="3360" y="646"/>
                  </a:lnTo>
                  <a:lnTo>
                    <a:pt x="3367" y="638"/>
                  </a:lnTo>
                  <a:lnTo>
                    <a:pt x="3375" y="630"/>
                  </a:lnTo>
                  <a:lnTo>
                    <a:pt x="3383" y="622"/>
                  </a:lnTo>
                  <a:lnTo>
                    <a:pt x="3392" y="615"/>
                  </a:lnTo>
                  <a:lnTo>
                    <a:pt x="3396" y="611"/>
                  </a:lnTo>
                  <a:lnTo>
                    <a:pt x="3401" y="608"/>
                  </a:lnTo>
                  <a:lnTo>
                    <a:pt x="3410" y="601"/>
                  </a:lnTo>
                  <a:lnTo>
                    <a:pt x="3419" y="595"/>
                  </a:lnTo>
                  <a:lnTo>
                    <a:pt x="3429" y="590"/>
                  </a:lnTo>
                  <a:lnTo>
                    <a:pt x="3439" y="585"/>
                  </a:lnTo>
                  <a:lnTo>
                    <a:pt x="3450" y="580"/>
                  </a:lnTo>
                  <a:lnTo>
                    <a:pt x="3461" y="576"/>
                  </a:lnTo>
                  <a:lnTo>
                    <a:pt x="3472" y="572"/>
                  </a:lnTo>
                  <a:lnTo>
                    <a:pt x="3483" y="568"/>
                  </a:lnTo>
                  <a:lnTo>
                    <a:pt x="3495" y="565"/>
                  </a:lnTo>
                  <a:lnTo>
                    <a:pt x="3507" y="563"/>
                  </a:lnTo>
                  <a:lnTo>
                    <a:pt x="3519" y="561"/>
                  </a:lnTo>
                  <a:lnTo>
                    <a:pt x="3531" y="559"/>
                  </a:lnTo>
                  <a:lnTo>
                    <a:pt x="3544" y="558"/>
                  </a:lnTo>
                  <a:lnTo>
                    <a:pt x="3557" y="557"/>
                  </a:lnTo>
                  <a:lnTo>
                    <a:pt x="3571" y="557"/>
                  </a:lnTo>
                  <a:lnTo>
                    <a:pt x="3589" y="557"/>
                  </a:lnTo>
                  <a:lnTo>
                    <a:pt x="3599" y="558"/>
                  </a:lnTo>
                  <a:lnTo>
                    <a:pt x="3609" y="559"/>
                  </a:lnTo>
                  <a:lnTo>
                    <a:pt x="3629" y="562"/>
                  </a:lnTo>
                  <a:lnTo>
                    <a:pt x="3652" y="566"/>
                  </a:lnTo>
                  <a:lnTo>
                    <a:pt x="3652" y="820"/>
                  </a:lnTo>
                  <a:close/>
                  <a:moveTo>
                    <a:pt x="4253" y="1478"/>
                  </a:moveTo>
                  <a:lnTo>
                    <a:pt x="4253" y="1275"/>
                  </a:lnTo>
                  <a:lnTo>
                    <a:pt x="4238" y="1278"/>
                  </a:lnTo>
                  <a:lnTo>
                    <a:pt x="4224" y="1281"/>
                  </a:lnTo>
                  <a:lnTo>
                    <a:pt x="4211" y="1283"/>
                  </a:lnTo>
                  <a:lnTo>
                    <a:pt x="4199" y="1284"/>
                  </a:lnTo>
                  <a:lnTo>
                    <a:pt x="4174" y="1286"/>
                  </a:lnTo>
                  <a:lnTo>
                    <a:pt x="4147" y="1286"/>
                  </a:lnTo>
                  <a:lnTo>
                    <a:pt x="4125" y="1286"/>
                  </a:lnTo>
                  <a:lnTo>
                    <a:pt x="4116" y="1285"/>
                  </a:lnTo>
                  <a:lnTo>
                    <a:pt x="4106" y="1284"/>
                  </a:lnTo>
                  <a:lnTo>
                    <a:pt x="4089" y="1281"/>
                  </a:lnTo>
                  <a:lnTo>
                    <a:pt x="4081" y="1280"/>
                  </a:lnTo>
                  <a:lnTo>
                    <a:pt x="4074" y="1278"/>
                  </a:lnTo>
                  <a:lnTo>
                    <a:pt x="4066" y="1275"/>
                  </a:lnTo>
                  <a:lnTo>
                    <a:pt x="4060" y="1272"/>
                  </a:lnTo>
                  <a:lnTo>
                    <a:pt x="4053" y="1269"/>
                  </a:lnTo>
                  <a:lnTo>
                    <a:pt x="4047" y="1266"/>
                  </a:lnTo>
                  <a:lnTo>
                    <a:pt x="4042" y="1262"/>
                  </a:lnTo>
                  <a:lnTo>
                    <a:pt x="4036" y="1258"/>
                  </a:lnTo>
                  <a:lnTo>
                    <a:pt x="4031" y="1253"/>
                  </a:lnTo>
                  <a:lnTo>
                    <a:pt x="4027" y="1248"/>
                  </a:lnTo>
                  <a:lnTo>
                    <a:pt x="4022" y="1243"/>
                  </a:lnTo>
                  <a:lnTo>
                    <a:pt x="4019" y="1238"/>
                  </a:lnTo>
                  <a:lnTo>
                    <a:pt x="4012" y="1225"/>
                  </a:lnTo>
                  <a:lnTo>
                    <a:pt x="4009" y="1218"/>
                  </a:lnTo>
                  <a:lnTo>
                    <a:pt x="4006" y="1211"/>
                  </a:lnTo>
                  <a:lnTo>
                    <a:pt x="4004" y="1203"/>
                  </a:lnTo>
                  <a:lnTo>
                    <a:pt x="4001" y="1195"/>
                  </a:lnTo>
                  <a:lnTo>
                    <a:pt x="3998" y="1178"/>
                  </a:lnTo>
                  <a:lnTo>
                    <a:pt x="3997" y="1168"/>
                  </a:lnTo>
                  <a:lnTo>
                    <a:pt x="3996" y="1158"/>
                  </a:lnTo>
                  <a:lnTo>
                    <a:pt x="3994" y="1137"/>
                  </a:lnTo>
                  <a:lnTo>
                    <a:pt x="3994" y="1114"/>
                  </a:lnTo>
                  <a:lnTo>
                    <a:pt x="3994" y="775"/>
                  </a:lnTo>
                  <a:lnTo>
                    <a:pt x="4242" y="775"/>
                  </a:lnTo>
                  <a:lnTo>
                    <a:pt x="4242" y="574"/>
                  </a:lnTo>
                  <a:lnTo>
                    <a:pt x="3994" y="574"/>
                  </a:lnTo>
                  <a:lnTo>
                    <a:pt x="3994" y="280"/>
                  </a:lnTo>
                  <a:lnTo>
                    <a:pt x="3736" y="426"/>
                  </a:lnTo>
                  <a:lnTo>
                    <a:pt x="3736" y="1160"/>
                  </a:lnTo>
                  <a:lnTo>
                    <a:pt x="3736" y="1182"/>
                  </a:lnTo>
                  <a:lnTo>
                    <a:pt x="3737" y="1202"/>
                  </a:lnTo>
                  <a:lnTo>
                    <a:pt x="3739" y="1222"/>
                  </a:lnTo>
                  <a:lnTo>
                    <a:pt x="3741" y="1241"/>
                  </a:lnTo>
                  <a:lnTo>
                    <a:pt x="3742" y="1251"/>
                  </a:lnTo>
                  <a:lnTo>
                    <a:pt x="3744" y="1260"/>
                  </a:lnTo>
                  <a:lnTo>
                    <a:pt x="3747" y="1278"/>
                  </a:lnTo>
                  <a:lnTo>
                    <a:pt x="3751" y="1295"/>
                  </a:lnTo>
                  <a:lnTo>
                    <a:pt x="3756" y="1311"/>
                  </a:lnTo>
                  <a:lnTo>
                    <a:pt x="3762" y="1326"/>
                  </a:lnTo>
                  <a:lnTo>
                    <a:pt x="3768" y="1341"/>
                  </a:lnTo>
                  <a:lnTo>
                    <a:pt x="3775" y="1355"/>
                  </a:lnTo>
                  <a:lnTo>
                    <a:pt x="3782" y="1369"/>
                  </a:lnTo>
                  <a:lnTo>
                    <a:pt x="3790" y="1381"/>
                  </a:lnTo>
                  <a:lnTo>
                    <a:pt x="3799" y="1393"/>
                  </a:lnTo>
                  <a:lnTo>
                    <a:pt x="3804" y="1399"/>
                  </a:lnTo>
                  <a:lnTo>
                    <a:pt x="3809" y="1405"/>
                  </a:lnTo>
                  <a:lnTo>
                    <a:pt x="3814" y="1410"/>
                  </a:lnTo>
                  <a:lnTo>
                    <a:pt x="3819" y="1415"/>
                  </a:lnTo>
                  <a:lnTo>
                    <a:pt x="3830" y="1425"/>
                  </a:lnTo>
                  <a:lnTo>
                    <a:pt x="3842" y="1434"/>
                  </a:lnTo>
                  <a:lnTo>
                    <a:pt x="3854" y="1443"/>
                  </a:lnTo>
                  <a:lnTo>
                    <a:pt x="3867" y="1451"/>
                  </a:lnTo>
                  <a:lnTo>
                    <a:pt x="3881" y="1458"/>
                  </a:lnTo>
                  <a:lnTo>
                    <a:pt x="3896" y="1465"/>
                  </a:lnTo>
                  <a:lnTo>
                    <a:pt x="3911" y="1470"/>
                  </a:lnTo>
                  <a:lnTo>
                    <a:pt x="3919" y="1473"/>
                  </a:lnTo>
                  <a:lnTo>
                    <a:pt x="3927" y="1476"/>
                  </a:lnTo>
                  <a:lnTo>
                    <a:pt x="3944" y="1480"/>
                  </a:lnTo>
                  <a:lnTo>
                    <a:pt x="3961" y="1484"/>
                  </a:lnTo>
                  <a:lnTo>
                    <a:pt x="3979" y="1488"/>
                  </a:lnTo>
                  <a:lnTo>
                    <a:pt x="3998" y="1491"/>
                  </a:lnTo>
                  <a:lnTo>
                    <a:pt x="4018" y="1493"/>
                  </a:lnTo>
                  <a:lnTo>
                    <a:pt x="4038" y="1494"/>
                  </a:lnTo>
                  <a:lnTo>
                    <a:pt x="4060" y="1495"/>
                  </a:lnTo>
                  <a:lnTo>
                    <a:pt x="4082" y="1495"/>
                  </a:lnTo>
                  <a:lnTo>
                    <a:pt x="4104" y="1495"/>
                  </a:lnTo>
                  <a:lnTo>
                    <a:pt x="4125" y="1495"/>
                  </a:lnTo>
                  <a:lnTo>
                    <a:pt x="4146" y="1493"/>
                  </a:lnTo>
                  <a:lnTo>
                    <a:pt x="4167" y="1492"/>
                  </a:lnTo>
                  <a:lnTo>
                    <a:pt x="4187" y="1490"/>
                  </a:lnTo>
                  <a:lnTo>
                    <a:pt x="4208" y="1487"/>
                  </a:lnTo>
                  <a:lnTo>
                    <a:pt x="4230" y="1483"/>
                  </a:lnTo>
                  <a:lnTo>
                    <a:pt x="4253" y="1478"/>
                  </a:lnTo>
                  <a:close/>
                  <a:moveTo>
                    <a:pt x="2979" y="1024"/>
                  </a:moveTo>
                  <a:lnTo>
                    <a:pt x="2978" y="1050"/>
                  </a:lnTo>
                  <a:lnTo>
                    <a:pt x="2976" y="1075"/>
                  </a:lnTo>
                  <a:lnTo>
                    <a:pt x="2974" y="1100"/>
                  </a:lnTo>
                  <a:lnTo>
                    <a:pt x="2970" y="1125"/>
                  </a:lnTo>
                  <a:lnTo>
                    <a:pt x="2966" y="1149"/>
                  </a:lnTo>
                  <a:lnTo>
                    <a:pt x="2960" y="1172"/>
                  </a:lnTo>
                  <a:lnTo>
                    <a:pt x="2954" y="1195"/>
                  </a:lnTo>
                  <a:lnTo>
                    <a:pt x="2950" y="1206"/>
                  </a:lnTo>
                  <a:lnTo>
                    <a:pt x="2946" y="1217"/>
                  </a:lnTo>
                  <a:lnTo>
                    <a:pt x="2938" y="1238"/>
                  </a:lnTo>
                  <a:lnTo>
                    <a:pt x="2928" y="1259"/>
                  </a:lnTo>
                  <a:lnTo>
                    <a:pt x="2918" y="1279"/>
                  </a:lnTo>
                  <a:lnTo>
                    <a:pt x="2907" y="1299"/>
                  </a:lnTo>
                  <a:lnTo>
                    <a:pt x="2896" y="1317"/>
                  </a:lnTo>
                  <a:lnTo>
                    <a:pt x="2883" y="1335"/>
                  </a:lnTo>
                  <a:lnTo>
                    <a:pt x="2876" y="1344"/>
                  </a:lnTo>
                  <a:lnTo>
                    <a:pt x="2870" y="1352"/>
                  </a:lnTo>
                  <a:lnTo>
                    <a:pt x="2863" y="1360"/>
                  </a:lnTo>
                  <a:lnTo>
                    <a:pt x="2855" y="1368"/>
                  </a:lnTo>
                  <a:lnTo>
                    <a:pt x="2848" y="1376"/>
                  </a:lnTo>
                  <a:lnTo>
                    <a:pt x="2840" y="1384"/>
                  </a:lnTo>
                  <a:lnTo>
                    <a:pt x="2833" y="1391"/>
                  </a:lnTo>
                  <a:lnTo>
                    <a:pt x="2825" y="1399"/>
                  </a:lnTo>
                  <a:lnTo>
                    <a:pt x="2817" y="1406"/>
                  </a:lnTo>
                  <a:lnTo>
                    <a:pt x="2808" y="1412"/>
                  </a:lnTo>
                  <a:lnTo>
                    <a:pt x="2791" y="1425"/>
                  </a:lnTo>
                  <a:lnTo>
                    <a:pt x="2783" y="1431"/>
                  </a:lnTo>
                  <a:lnTo>
                    <a:pt x="2774" y="1437"/>
                  </a:lnTo>
                  <a:lnTo>
                    <a:pt x="2755" y="1448"/>
                  </a:lnTo>
                  <a:lnTo>
                    <a:pt x="2746" y="1453"/>
                  </a:lnTo>
                  <a:lnTo>
                    <a:pt x="2736" y="1458"/>
                  </a:lnTo>
                  <a:lnTo>
                    <a:pt x="2716" y="1467"/>
                  </a:lnTo>
                  <a:lnTo>
                    <a:pt x="2696" y="1476"/>
                  </a:lnTo>
                  <a:lnTo>
                    <a:pt x="2686" y="1479"/>
                  </a:lnTo>
                  <a:lnTo>
                    <a:pt x="2675" y="1483"/>
                  </a:lnTo>
                  <a:lnTo>
                    <a:pt x="2665" y="1486"/>
                  </a:lnTo>
                  <a:lnTo>
                    <a:pt x="2654" y="1489"/>
                  </a:lnTo>
                  <a:lnTo>
                    <a:pt x="2632" y="1494"/>
                  </a:lnTo>
                  <a:lnTo>
                    <a:pt x="2609" y="1498"/>
                  </a:lnTo>
                  <a:lnTo>
                    <a:pt x="2598" y="1499"/>
                  </a:lnTo>
                  <a:lnTo>
                    <a:pt x="2586" y="1501"/>
                  </a:lnTo>
                  <a:lnTo>
                    <a:pt x="2563" y="1502"/>
                  </a:lnTo>
                  <a:lnTo>
                    <a:pt x="2551" y="1503"/>
                  </a:lnTo>
                  <a:lnTo>
                    <a:pt x="2539" y="1503"/>
                  </a:lnTo>
                  <a:lnTo>
                    <a:pt x="2513" y="1502"/>
                  </a:lnTo>
                  <a:lnTo>
                    <a:pt x="2501" y="1502"/>
                  </a:lnTo>
                  <a:lnTo>
                    <a:pt x="2488" y="1501"/>
                  </a:lnTo>
                  <a:lnTo>
                    <a:pt x="2475" y="1500"/>
                  </a:lnTo>
                  <a:lnTo>
                    <a:pt x="2462" y="1498"/>
                  </a:lnTo>
                  <a:lnTo>
                    <a:pt x="2439" y="1494"/>
                  </a:lnTo>
                  <a:lnTo>
                    <a:pt x="2415" y="1489"/>
                  </a:lnTo>
                  <a:lnTo>
                    <a:pt x="2393" y="1484"/>
                  </a:lnTo>
                  <a:lnTo>
                    <a:pt x="2382" y="1480"/>
                  </a:lnTo>
                  <a:lnTo>
                    <a:pt x="2371" y="1477"/>
                  </a:lnTo>
                  <a:lnTo>
                    <a:pt x="2350" y="1469"/>
                  </a:lnTo>
                  <a:lnTo>
                    <a:pt x="2329" y="1460"/>
                  </a:lnTo>
                  <a:lnTo>
                    <a:pt x="2319" y="1455"/>
                  </a:lnTo>
                  <a:lnTo>
                    <a:pt x="2309" y="1450"/>
                  </a:lnTo>
                  <a:lnTo>
                    <a:pt x="2290" y="1440"/>
                  </a:lnTo>
                  <a:lnTo>
                    <a:pt x="2272" y="1428"/>
                  </a:lnTo>
                  <a:lnTo>
                    <a:pt x="2254" y="1415"/>
                  </a:lnTo>
                  <a:lnTo>
                    <a:pt x="2246" y="1409"/>
                  </a:lnTo>
                  <a:lnTo>
                    <a:pt x="2237" y="1402"/>
                  </a:lnTo>
                  <a:lnTo>
                    <a:pt x="2221" y="1388"/>
                  </a:lnTo>
                  <a:lnTo>
                    <a:pt x="2206" y="1372"/>
                  </a:lnTo>
                  <a:lnTo>
                    <a:pt x="2199" y="1364"/>
                  </a:lnTo>
                  <a:lnTo>
                    <a:pt x="2192" y="1356"/>
                  </a:lnTo>
                  <a:lnTo>
                    <a:pt x="2185" y="1348"/>
                  </a:lnTo>
                  <a:lnTo>
                    <a:pt x="2178" y="1339"/>
                  </a:lnTo>
                  <a:lnTo>
                    <a:pt x="2172" y="1330"/>
                  </a:lnTo>
                  <a:lnTo>
                    <a:pt x="2166" y="1321"/>
                  </a:lnTo>
                  <a:lnTo>
                    <a:pt x="2154" y="1303"/>
                  </a:lnTo>
                  <a:lnTo>
                    <a:pt x="2143" y="1283"/>
                  </a:lnTo>
                  <a:lnTo>
                    <a:pt x="2138" y="1273"/>
                  </a:lnTo>
                  <a:lnTo>
                    <a:pt x="2133" y="1263"/>
                  </a:lnTo>
                  <a:lnTo>
                    <a:pt x="2124" y="1242"/>
                  </a:lnTo>
                  <a:lnTo>
                    <a:pt x="2115" y="1220"/>
                  </a:lnTo>
                  <a:lnTo>
                    <a:pt x="2108" y="1197"/>
                  </a:lnTo>
                  <a:lnTo>
                    <a:pt x="2101" y="1174"/>
                  </a:lnTo>
                  <a:lnTo>
                    <a:pt x="2096" y="1150"/>
                  </a:lnTo>
                  <a:lnTo>
                    <a:pt x="2094" y="1138"/>
                  </a:lnTo>
                  <a:lnTo>
                    <a:pt x="2092" y="1125"/>
                  </a:lnTo>
                  <a:lnTo>
                    <a:pt x="2088" y="1100"/>
                  </a:lnTo>
                  <a:lnTo>
                    <a:pt x="2085" y="1074"/>
                  </a:lnTo>
                  <a:lnTo>
                    <a:pt x="2085" y="1061"/>
                  </a:lnTo>
                  <a:lnTo>
                    <a:pt x="2084" y="1047"/>
                  </a:lnTo>
                  <a:lnTo>
                    <a:pt x="2083" y="1020"/>
                  </a:lnTo>
                  <a:lnTo>
                    <a:pt x="2084" y="995"/>
                  </a:lnTo>
                  <a:lnTo>
                    <a:pt x="2085" y="983"/>
                  </a:lnTo>
                  <a:lnTo>
                    <a:pt x="2085" y="970"/>
                  </a:lnTo>
                  <a:lnTo>
                    <a:pt x="2088" y="946"/>
                  </a:lnTo>
                  <a:lnTo>
                    <a:pt x="2092" y="922"/>
                  </a:lnTo>
                  <a:lnTo>
                    <a:pt x="2096" y="899"/>
                  </a:lnTo>
                  <a:lnTo>
                    <a:pt x="2102" y="876"/>
                  </a:lnTo>
                  <a:lnTo>
                    <a:pt x="2108" y="854"/>
                  </a:lnTo>
                  <a:lnTo>
                    <a:pt x="2116" y="832"/>
                  </a:lnTo>
                  <a:lnTo>
                    <a:pt x="2124" y="811"/>
                  </a:lnTo>
                  <a:lnTo>
                    <a:pt x="2133" y="791"/>
                  </a:lnTo>
                  <a:lnTo>
                    <a:pt x="2138" y="781"/>
                  </a:lnTo>
                  <a:lnTo>
                    <a:pt x="2144" y="770"/>
                  </a:lnTo>
                  <a:lnTo>
                    <a:pt x="2155" y="751"/>
                  </a:lnTo>
                  <a:lnTo>
                    <a:pt x="2160" y="742"/>
                  </a:lnTo>
                  <a:lnTo>
                    <a:pt x="2166" y="732"/>
                  </a:lnTo>
                  <a:lnTo>
                    <a:pt x="2173" y="723"/>
                  </a:lnTo>
                  <a:lnTo>
                    <a:pt x="2179" y="715"/>
                  </a:lnTo>
                  <a:lnTo>
                    <a:pt x="2193" y="698"/>
                  </a:lnTo>
                  <a:lnTo>
                    <a:pt x="2207" y="681"/>
                  </a:lnTo>
                  <a:lnTo>
                    <a:pt x="2222" y="666"/>
                  </a:lnTo>
                  <a:lnTo>
                    <a:pt x="2238" y="651"/>
                  </a:lnTo>
                  <a:lnTo>
                    <a:pt x="2255" y="637"/>
                  </a:lnTo>
                  <a:lnTo>
                    <a:pt x="2272" y="624"/>
                  </a:lnTo>
                  <a:lnTo>
                    <a:pt x="2290" y="612"/>
                  </a:lnTo>
                  <a:lnTo>
                    <a:pt x="2309" y="601"/>
                  </a:lnTo>
                  <a:lnTo>
                    <a:pt x="2329" y="591"/>
                  </a:lnTo>
                  <a:lnTo>
                    <a:pt x="2349" y="582"/>
                  </a:lnTo>
                  <a:lnTo>
                    <a:pt x="2359" y="577"/>
                  </a:lnTo>
                  <a:lnTo>
                    <a:pt x="2370" y="573"/>
                  </a:lnTo>
                  <a:lnTo>
                    <a:pt x="2391" y="566"/>
                  </a:lnTo>
                  <a:lnTo>
                    <a:pt x="2413" y="560"/>
                  </a:lnTo>
                  <a:lnTo>
                    <a:pt x="2436" y="555"/>
                  </a:lnTo>
                  <a:lnTo>
                    <a:pt x="2447" y="553"/>
                  </a:lnTo>
                  <a:lnTo>
                    <a:pt x="2459" y="551"/>
                  </a:lnTo>
                  <a:lnTo>
                    <a:pt x="2471" y="549"/>
                  </a:lnTo>
                  <a:lnTo>
                    <a:pt x="2483" y="548"/>
                  </a:lnTo>
                  <a:lnTo>
                    <a:pt x="2508" y="546"/>
                  </a:lnTo>
                  <a:lnTo>
                    <a:pt x="2521" y="546"/>
                  </a:lnTo>
                  <a:lnTo>
                    <a:pt x="2533" y="545"/>
                  </a:lnTo>
                  <a:lnTo>
                    <a:pt x="2559" y="546"/>
                  </a:lnTo>
                  <a:lnTo>
                    <a:pt x="2585" y="548"/>
                  </a:lnTo>
                  <a:lnTo>
                    <a:pt x="2610" y="551"/>
                  </a:lnTo>
                  <a:lnTo>
                    <a:pt x="2634" y="554"/>
                  </a:lnTo>
                  <a:lnTo>
                    <a:pt x="2657" y="559"/>
                  </a:lnTo>
                  <a:lnTo>
                    <a:pt x="2679" y="566"/>
                  </a:lnTo>
                  <a:lnTo>
                    <a:pt x="2701" y="573"/>
                  </a:lnTo>
                  <a:lnTo>
                    <a:pt x="2722" y="581"/>
                  </a:lnTo>
                  <a:lnTo>
                    <a:pt x="2742" y="590"/>
                  </a:lnTo>
                  <a:lnTo>
                    <a:pt x="2762" y="600"/>
                  </a:lnTo>
                  <a:lnTo>
                    <a:pt x="2780" y="611"/>
                  </a:lnTo>
                  <a:lnTo>
                    <a:pt x="2798" y="623"/>
                  </a:lnTo>
                  <a:lnTo>
                    <a:pt x="2815" y="636"/>
                  </a:lnTo>
                  <a:lnTo>
                    <a:pt x="2832" y="650"/>
                  </a:lnTo>
                  <a:lnTo>
                    <a:pt x="2847" y="664"/>
                  </a:lnTo>
                  <a:lnTo>
                    <a:pt x="2862" y="680"/>
                  </a:lnTo>
                  <a:lnTo>
                    <a:pt x="2876" y="696"/>
                  </a:lnTo>
                  <a:lnTo>
                    <a:pt x="2889" y="713"/>
                  </a:lnTo>
                  <a:lnTo>
                    <a:pt x="2901" y="731"/>
                  </a:lnTo>
                  <a:lnTo>
                    <a:pt x="2907" y="740"/>
                  </a:lnTo>
                  <a:lnTo>
                    <a:pt x="2912" y="749"/>
                  </a:lnTo>
                  <a:lnTo>
                    <a:pt x="2917" y="759"/>
                  </a:lnTo>
                  <a:lnTo>
                    <a:pt x="2923" y="769"/>
                  </a:lnTo>
                  <a:lnTo>
                    <a:pt x="2932" y="790"/>
                  </a:lnTo>
                  <a:lnTo>
                    <a:pt x="2941" y="810"/>
                  </a:lnTo>
                  <a:lnTo>
                    <a:pt x="2949" y="832"/>
                  </a:lnTo>
                  <a:lnTo>
                    <a:pt x="2956" y="854"/>
                  </a:lnTo>
                  <a:lnTo>
                    <a:pt x="2962" y="876"/>
                  </a:lnTo>
                  <a:lnTo>
                    <a:pt x="2967" y="899"/>
                  </a:lnTo>
                  <a:lnTo>
                    <a:pt x="2971" y="923"/>
                  </a:lnTo>
                  <a:lnTo>
                    <a:pt x="2974" y="948"/>
                  </a:lnTo>
                  <a:lnTo>
                    <a:pt x="2977" y="972"/>
                  </a:lnTo>
                  <a:lnTo>
                    <a:pt x="2978" y="998"/>
                  </a:lnTo>
                  <a:lnTo>
                    <a:pt x="2979" y="1024"/>
                  </a:lnTo>
                  <a:close/>
                  <a:moveTo>
                    <a:pt x="2718" y="1022"/>
                  </a:moveTo>
                  <a:lnTo>
                    <a:pt x="2718" y="1007"/>
                  </a:lnTo>
                  <a:lnTo>
                    <a:pt x="2717" y="992"/>
                  </a:lnTo>
                  <a:lnTo>
                    <a:pt x="2716" y="978"/>
                  </a:lnTo>
                  <a:lnTo>
                    <a:pt x="2715" y="964"/>
                  </a:lnTo>
                  <a:lnTo>
                    <a:pt x="2713" y="951"/>
                  </a:lnTo>
                  <a:lnTo>
                    <a:pt x="2711" y="938"/>
                  </a:lnTo>
                  <a:lnTo>
                    <a:pt x="2709" y="926"/>
                  </a:lnTo>
                  <a:lnTo>
                    <a:pt x="2706" y="913"/>
                  </a:lnTo>
                  <a:lnTo>
                    <a:pt x="2702" y="902"/>
                  </a:lnTo>
                  <a:lnTo>
                    <a:pt x="2699" y="890"/>
                  </a:lnTo>
                  <a:lnTo>
                    <a:pt x="2695" y="880"/>
                  </a:lnTo>
                  <a:lnTo>
                    <a:pt x="2690" y="869"/>
                  </a:lnTo>
                  <a:lnTo>
                    <a:pt x="2685" y="859"/>
                  </a:lnTo>
                  <a:lnTo>
                    <a:pt x="2680" y="850"/>
                  </a:lnTo>
                  <a:lnTo>
                    <a:pt x="2675" y="841"/>
                  </a:lnTo>
                  <a:lnTo>
                    <a:pt x="2669" y="832"/>
                  </a:lnTo>
                  <a:lnTo>
                    <a:pt x="2663" y="824"/>
                  </a:lnTo>
                  <a:lnTo>
                    <a:pt x="2657" y="816"/>
                  </a:lnTo>
                  <a:lnTo>
                    <a:pt x="2650" y="809"/>
                  </a:lnTo>
                  <a:lnTo>
                    <a:pt x="2643" y="802"/>
                  </a:lnTo>
                  <a:lnTo>
                    <a:pt x="2635" y="796"/>
                  </a:lnTo>
                  <a:lnTo>
                    <a:pt x="2627" y="791"/>
                  </a:lnTo>
                  <a:lnTo>
                    <a:pt x="2619" y="785"/>
                  </a:lnTo>
                  <a:lnTo>
                    <a:pt x="2611" y="781"/>
                  </a:lnTo>
                  <a:lnTo>
                    <a:pt x="2602" y="776"/>
                  </a:lnTo>
                  <a:lnTo>
                    <a:pt x="2593" y="772"/>
                  </a:lnTo>
                  <a:lnTo>
                    <a:pt x="2584" y="769"/>
                  </a:lnTo>
                  <a:lnTo>
                    <a:pt x="2574" y="767"/>
                  </a:lnTo>
                  <a:lnTo>
                    <a:pt x="2565" y="765"/>
                  </a:lnTo>
                  <a:lnTo>
                    <a:pt x="2554" y="763"/>
                  </a:lnTo>
                  <a:lnTo>
                    <a:pt x="2544" y="762"/>
                  </a:lnTo>
                  <a:lnTo>
                    <a:pt x="2533" y="762"/>
                  </a:lnTo>
                  <a:lnTo>
                    <a:pt x="2523" y="762"/>
                  </a:lnTo>
                  <a:lnTo>
                    <a:pt x="2512" y="763"/>
                  </a:lnTo>
                  <a:lnTo>
                    <a:pt x="2502" y="765"/>
                  </a:lnTo>
                  <a:lnTo>
                    <a:pt x="2492" y="767"/>
                  </a:lnTo>
                  <a:lnTo>
                    <a:pt x="2481" y="769"/>
                  </a:lnTo>
                  <a:lnTo>
                    <a:pt x="2472" y="772"/>
                  </a:lnTo>
                  <a:lnTo>
                    <a:pt x="2463" y="776"/>
                  </a:lnTo>
                  <a:lnTo>
                    <a:pt x="2454" y="781"/>
                  </a:lnTo>
                  <a:lnTo>
                    <a:pt x="2446" y="786"/>
                  </a:lnTo>
                  <a:lnTo>
                    <a:pt x="2437" y="791"/>
                  </a:lnTo>
                  <a:lnTo>
                    <a:pt x="2429" y="797"/>
                  </a:lnTo>
                  <a:lnTo>
                    <a:pt x="2422" y="803"/>
                  </a:lnTo>
                  <a:lnTo>
                    <a:pt x="2415" y="810"/>
                  </a:lnTo>
                  <a:lnTo>
                    <a:pt x="2408" y="817"/>
                  </a:lnTo>
                  <a:lnTo>
                    <a:pt x="2401" y="825"/>
                  </a:lnTo>
                  <a:lnTo>
                    <a:pt x="2395" y="833"/>
                  </a:lnTo>
                  <a:lnTo>
                    <a:pt x="2389" y="842"/>
                  </a:lnTo>
                  <a:lnTo>
                    <a:pt x="2383" y="851"/>
                  </a:lnTo>
                  <a:lnTo>
                    <a:pt x="2378" y="860"/>
                  </a:lnTo>
                  <a:lnTo>
                    <a:pt x="2373" y="870"/>
                  </a:lnTo>
                  <a:lnTo>
                    <a:pt x="2368" y="881"/>
                  </a:lnTo>
                  <a:lnTo>
                    <a:pt x="2364" y="891"/>
                  </a:lnTo>
                  <a:lnTo>
                    <a:pt x="2360" y="903"/>
                  </a:lnTo>
                  <a:lnTo>
                    <a:pt x="2357" y="914"/>
                  </a:lnTo>
                  <a:lnTo>
                    <a:pt x="2354" y="926"/>
                  </a:lnTo>
                  <a:lnTo>
                    <a:pt x="2351" y="939"/>
                  </a:lnTo>
                  <a:lnTo>
                    <a:pt x="2349" y="951"/>
                  </a:lnTo>
                  <a:lnTo>
                    <a:pt x="2347" y="964"/>
                  </a:lnTo>
                  <a:lnTo>
                    <a:pt x="2346" y="978"/>
                  </a:lnTo>
                  <a:lnTo>
                    <a:pt x="2344" y="991"/>
                  </a:lnTo>
                  <a:lnTo>
                    <a:pt x="2344" y="1005"/>
                  </a:lnTo>
                  <a:lnTo>
                    <a:pt x="2344" y="1020"/>
                  </a:lnTo>
                  <a:lnTo>
                    <a:pt x="2344" y="1034"/>
                  </a:lnTo>
                  <a:lnTo>
                    <a:pt x="2344" y="1049"/>
                  </a:lnTo>
                  <a:lnTo>
                    <a:pt x="2346" y="1063"/>
                  </a:lnTo>
                  <a:lnTo>
                    <a:pt x="2347" y="1076"/>
                  </a:lnTo>
                  <a:lnTo>
                    <a:pt x="2349" y="1090"/>
                  </a:lnTo>
                  <a:lnTo>
                    <a:pt x="2351" y="1103"/>
                  </a:lnTo>
                  <a:lnTo>
                    <a:pt x="2357" y="1127"/>
                  </a:lnTo>
                  <a:lnTo>
                    <a:pt x="2361" y="1139"/>
                  </a:lnTo>
                  <a:lnTo>
                    <a:pt x="2365" y="1150"/>
                  </a:lnTo>
                  <a:lnTo>
                    <a:pt x="2369" y="1162"/>
                  </a:lnTo>
                  <a:lnTo>
                    <a:pt x="2374" y="1172"/>
                  </a:lnTo>
                  <a:lnTo>
                    <a:pt x="2379" y="1182"/>
                  </a:lnTo>
                  <a:lnTo>
                    <a:pt x="2384" y="1192"/>
                  </a:lnTo>
                  <a:lnTo>
                    <a:pt x="2396" y="1210"/>
                  </a:lnTo>
                  <a:lnTo>
                    <a:pt x="2402" y="1219"/>
                  </a:lnTo>
                  <a:lnTo>
                    <a:pt x="2409" y="1227"/>
                  </a:lnTo>
                  <a:lnTo>
                    <a:pt x="2416" y="1234"/>
                  </a:lnTo>
                  <a:lnTo>
                    <a:pt x="2424" y="1241"/>
                  </a:lnTo>
                  <a:lnTo>
                    <a:pt x="2431" y="1247"/>
                  </a:lnTo>
                  <a:lnTo>
                    <a:pt x="2439" y="1253"/>
                  </a:lnTo>
                  <a:lnTo>
                    <a:pt x="2448" y="1259"/>
                  </a:lnTo>
                  <a:lnTo>
                    <a:pt x="2457" y="1264"/>
                  </a:lnTo>
                  <a:lnTo>
                    <a:pt x="2465" y="1268"/>
                  </a:lnTo>
                  <a:lnTo>
                    <a:pt x="2475" y="1272"/>
                  </a:lnTo>
                  <a:lnTo>
                    <a:pt x="2484" y="1275"/>
                  </a:lnTo>
                  <a:lnTo>
                    <a:pt x="2495" y="1278"/>
                  </a:lnTo>
                  <a:lnTo>
                    <a:pt x="2505" y="1280"/>
                  </a:lnTo>
                  <a:lnTo>
                    <a:pt x="2516" y="1281"/>
                  </a:lnTo>
                  <a:lnTo>
                    <a:pt x="2526" y="1282"/>
                  </a:lnTo>
                  <a:lnTo>
                    <a:pt x="2537" y="1283"/>
                  </a:lnTo>
                  <a:lnTo>
                    <a:pt x="2548" y="1282"/>
                  </a:lnTo>
                  <a:lnTo>
                    <a:pt x="2558" y="1281"/>
                  </a:lnTo>
                  <a:lnTo>
                    <a:pt x="2568" y="1280"/>
                  </a:lnTo>
                  <a:lnTo>
                    <a:pt x="2578" y="1278"/>
                  </a:lnTo>
                  <a:lnTo>
                    <a:pt x="2587" y="1275"/>
                  </a:lnTo>
                  <a:lnTo>
                    <a:pt x="2596" y="1272"/>
                  </a:lnTo>
                  <a:lnTo>
                    <a:pt x="2600" y="1271"/>
                  </a:lnTo>
                  <a:lnTo>
                    <a:pt x="2605" y="1269"/>
                  </a:lnTo>
                  <a:lnTo>
                    <a:pt x="2613" y="1264"/>
                  </a:lnTo>
                  <a:lnTo>
                    <a:pt x="2622" y="1260"/>
                  </a:lnTo>
                  <a:lnTo>
                    <a:pt x="2630" y="1255"/>
                  </a:lnTo>
                  <a:lnTo>
                    <a:pt x="2637" y="1249"/>
                  </a:lnTo>
                  <a:lnTo>
                    <a:pt x="2644" y="1243"/>
                  </a:lnTo>
                  <a:lnTo>
                    <a:pt x="2651" y="1236"/>
                  </a:lnTo>
                  <a:lnTo>
                    <a:pt x="2658" y="1229"/>
                  </a:lnTo>
                  <a:lnTo>
                    <a:pt x="2664" y="1221"/>
                  </a:lnTo>
                  <a:lnTo>
                    <a:pt x="2670" y="1213"/>
                  </a:lnTo>
                  <a:lnTo>
                    <a:pt x="2676" y="1204"/>
                  </a:lnTo>
                  <a:lnTo>
                    <a:pt x="2681" y="1195"/>
                  </a:lnTo>
                  <a:lnTo>
                    <a:pt x="2686" y="1185"/>
                  </a:lnTo>
                  <a:lnTo>
                    <a:pt x="2691" y="1175"/>
                  </a:lnTo>
                  <a:lnTo>
                    <a:pt x="2695" y="1165"/>
                  </a:lnTo>
                  <a:lnTo>
                    <a:pt x="2699" y="1154"/>
                  </a:lnTo>
                  <a:lnTo>
                    <a:pt x="2703" y="1142"/>
                  </a:lnTo>
                  <a:lnTo>
                    <a:pt x="2706" y="1131"/>
                  </a:lnTo>
                  <a:lnTo>
                    <a:pt x="2709" y="1118"/>
                  </a:lnTo>
                  <a:lnTo>
                    <a:pt x="2711" y="1106"/>
                  </a:lnTo>
                  <a:lnTo>
                    <a:pt x="2713" y="1093"/>
                  </a:lnTo>
                  <a:lnTo>
                    <a:pt x="2715" y="1079"/>
                  </a:lnTo>
                  <a:lnTo>
                    <a:pt x="2717" y="1065"/>
                  </a:lnTo>
                  <a:lnTo>
                    <a:pt x="2718" y="1051"/>
                  </a:lnTo>
                  <a:lnTo>
                    <a:pt x="2718" y="1037"/>
                  </a:lnTo>
                  <a:lnTo>
                    <a:pt x="2718" y="1022"/>
                  </a:lnTo>
                  <a:close/>
                  <a:moveTo>
                    <a:pt x="5165" y="1037"/>
                  </a:moveTo>
                  <a:lnTo>
                    <a:pt x="5165" y="570"/>
                  </a:lnTo>
                  <a:lnTo>
                    <a:pt x="4907" y="570"/>
                  </a:lnTo>
                  <a:lnTo>
                    <a:pt x="4907" y="1037"/>
                  </a:lnTo>
                  <a:lnTo>
                    <a:pt x="4906" y="1070"/>
                  </a:lnTo>
                  <a:lnTo>
                    <a:pt x="4905" y="1100"/>
                  </a:lnTo>
                  <a:lnTo>
                    <a:pt x="4904" y="1114"/>
                  </a:lnTo>
                  <a:lnTo>
                    <a:pt x="4903" y="1127"/>
                  </a:lnTo>
                  <a:lnTo>
                    <a:pt x="4900" y="1152"/>
                  </a:lnTo>
                  <a:lnTo>
                    <a:pt x="4895" y="1174"/>
                  </a:lnTo>
                  <a:lnTo>
                    <a:pt x="4890" y="1194"/>
                  </a:lnTo>
                  <a:lnTo>
                    <a:pt x="4887" y="1203"/>
                  </a:lnTo>
                  <a:lnTo>
                    <a:pt x="4883" y="1211"/>
                  </a:lnTo>
                  <a:lnTo>
                    <a:pt x="4879" y="1219"/>
                  </a:lnTo>
                  <a:lnTo>
                    <a:pt x="4875" y="1226"/>
                  </a:lnTo>
                  <a:lnTo>
                    <a:pt x="4866" y="1240"/>
                  </a:lnTo>
                  <a:lnTo>
                    <a:pt x="4860" y="1245"/>
                  </a:lnTo>
                  <a:lnTo>
                    <a:pt x="4855" y="1251"/>
                  </a:lnTo>
                  <a:lnTo>
                    <a:pt x="4849" y="1255"/>
                  </a:lnTo>
                  <a:lnTo>
                    <a:pt x="4843" y="1260"/>
                  </a:lnTo>
                  <a:lnTo>
                    <a:pt x="4836" y="1264"/>
                  </a:lnTo>
                  <a:lnTo>
                    <a:pt x="4829" y="1267"/>
                  </a:lnTo>
                  <a:lnTo>
                    <a:pt x="4821" y="1270"/>
                  </a:lnTo>
                  <a:lnTo>
                    <a:pt x="4813" y="1273"/>
                  </a:lnTo>
                  <a:lnTo>
                    <a:pt x="4805" y="1275"/>
                  </a:lnTo>
                  <a:lnTo>
                    <a:pt x="4796" y="1276"/>
                  </a:lnTo>
                  <a:lnTo>
                    <a:pt x="4787" y="1278"/>
                  </a:lnTo>
                  <a:lnTo>
                    <a:pt x="4777" y="1279"/>
                  </a:lnTo>
                  <a:lnTo>
                    <a:pt x="4767" y="1279"/>
                  </a:lnTo>
                  <a:lnTo>
                    <a:pt x="4757" y="1279"/>
                  </a:lnTo>
                  <a:lnTo>
                    <a:pt x="4746" y="1279"/>
                  </a:lnTo>
                  <a:lnTo>
                    <a:pt x="4735" y="1279"/>
                  </a:lnTo>
                  <a:lnTo>
                    <a:pt x="4725" y="1278"/>
                  </a:lnTo>
                  <a:lnTo>
                    <a:pt x="4715" y="1276"/>
                  </a:lnTo>
                  <a:lnTo>
                    <a:pt x="4706" y="1275"/>
                  </a:lnTo>
                  <a:lnTo>
                    <a:pt x="4697" y="1273"/>
                  </a:lnTo>
                  <a:lnTo>
                    <a:pt x="4689" y="1270"/>
                  </a:lnTo>
                  <a:lnTo>
                    <a:pt x="4681" y="1267"/>
                  </a:lnTo>
                  <a:lnTo>
                    <a:pt x="4674" y="1264"/>
                  </a:lnTo>
                  <a:lnTo>
                    <a:pt x="4667" y="1260"/>
                  </a:lnTo>
                  <a:lnTo>
                    <a:pt x="4660" y="1256"/>
                  </a:lnTo>
                  <a:lnTo>
                    <a:pt x="4654" y="1251"/>
                  </a:lnTo>
                  <a:lnTo>
                    <a:pt x="4648" y="1246"/>
                  </a:lnTo>
                  <a:lnTo>
                    <a:pt x="4642" y="1241"/>
                  </a:lnTo>
                  <a:lnTo>
                    <a:pt x="4637" y="1235"/>
                  </a:lnTo>
                  <a:lnTo>
                    <a:pt x="4632" y="1228"/>
                  </a:lnTo>
                  <a:lnTo>
                    <a:pt x="4627" y="1221"/>
                  </a:lnTo>
                  <a:lnTo>
                    <a:pt x="4623" y="1214"/>
                  </a:lnTo>
                  <a:lnTo>
                    <a:pt x="4619" y="1206"/>
                  </a:lnTo>
                  <a:lnTo>
                    <a:pt x="4616" y="1197"/>
                  </a:lnTo>
                  <a:lnTo>
                    <a:pt x="4613" y="1188"/>
                  </a:lnTo>
                  <a:lnTo>
                    <a:pt x="4610" y="1179"/>
                  </a:lnTo>
                  <a:lnTo>
                    <a:pt x="4607" y="1169"/>
                  </a:lnTo>
                  <a:lnTo>
                    <a:pt x="4605" y="1158"/>
                  </a:lnTo>
                  <a:lnTo>
                    <a:pt x="4603" y="1147"/>
                  </a:lnTo>
                  <a:lnTo>
                    <a:pt x="4601" y="1135"/>
                  </a:lnTo>
                  <a:lnTo>
                    <a:pt x="4600" y="1123"/>
                  </a:lnTo>
                  <a:lnTo>
                    <a:pt x="4599" y="1110"/>
                  </a:lnTo>
                  <a:lnTo>
                    <a:pt x="4598" y="1096"/>
                  </a:lnTo>
                  <a:lnTo>
                    <a:pt x="4597" y="1082"/>
                  </a:lnTo>
                  <a:lnTo>
                    <a:pt x="4597" y="1052"/>
                  </a:lnTo>
                  <a:lnTo>
                    <a:pt x="4597" y="570"/>
                  </a:lnTo>
                  <a:lnTo>
                    <a:pt x="4338" y="570"/>
                  </a:lnTo>
                  <a:lnTo>
                    <a:pt x="4338" y="1048"/>
                  </a:lnTo>
                  <a:lnTo>
                    <a:pt x="4339" y="1067"/>
                  </a:lnTo>
                  <a:lnTo>
                    <a:pt x="4339" y="1084"/>
                  </a:lnTo>
                  <a:lnTo>
                    <a:pt x="4340" y="1118"/>
                  </a:lnTo>
                  <a:lnTo>
                    <a:pt x="4342" y="1149"/>
                  </a:lnTo>
                  <a:lnTo>
                    <a:pt x="4345" y="1178"/>
                  </a:lnTo>
                  <a:lnTo>
                    <a:pt x="4347" y="1192"/>
                  </a:lnTo>
                  <a:lnTo>
                    <a:pt x="4349" y="1205"/>
                  </a:lnTo>
                  <a:lnTo>
                    <a:pt x="4353" y="1230"/>
                  </a:lnTo>
                  <a:lnTo>
                    <a:pt x="4356" y="1242"/>
                  </a:lnTo>
                  <a:lnTo>
                    <a:pt x="4359" y="1254"/>
                  </a:lnTo>
                  <a:lnTo>
                    <a:pt x="4362" y="1265"/>
                  </a:lnTo>
                  <a:lnTo>
                    <a:pt x="4366" y="1275"/>
                  </a:lnTo>
                  <a:lnTo>
                    <a:pt x="4373" y="1296"/>
                  </a:lnTo>
                  <a:lnTo>
                    <a:pt x="4382" y="1315"/>
                  </a:lnTo>
                  <a:lnTo>
                    <a:pt x="4392" y="1333"/>
                  </a:lnTo>
                  <a:lnTo>
                    <a:pt x="4398" y="1341"/>
                  </a:lnTo>
                  <a:lnTo>
                    <a:pt x="4404" y="1350"/>
                  </a:lnTo>
                  <a:lnTo>
                    <a:pt x="4410" y="1358"/>
                  </a:lnTo>
                  <a:lnTo>
                    <a:pt x="4416" y="1366"/>
                  </a:lnTo>
                  <a:lnTo>
                    <a:pt x="4423" y="1373"/>
                  </a:lnTo>
                  <a:lnTo>
                    <a:pt x="4430" y="1381"/>
                  </a:lnTo>
                  <a:lnTo>
                    <a:pt x="4437" y="1388"/>
                  </a:lnTo>
                  <a:lnTo>
                    <a:pt x="4445" y="1396"/>
                  </a:lnTo>
                  <a:lnTo>
                    <a:pt x="4461" y="1410"/>
                  </a:lnTo>
                  <a:lnTo>
                    <a:pt x="4475" y="1421"/>
                  </a:lnTo>
                  <a:lnTo>
                    <a:pt x="4489" y="1431"/>
                  </a:lnTo>
                  <a:lnTo>
                    <a:pt x="4505" y="1440"/>
                  </a:lnTo>
                  <a:lnTo>
                    <a:pt x="4520" y="1449"/>
                  </a:lnTo>
                  <a:lnTo>
                    <a:pt x="4537" y="1457"/>
                  </a:lnTo>
                  <a:lnTo>
                    <a:pt x="4554" y="1464"/>
                  </a:lnTo>
                  <a:lnTo>
                    <a:pt x="4572" y="1471"/>
                  </a:lnTo>
                  <a:lnTo>
                    <a:pt x="4590" y="1477"/>
                  </a:lnTo>
                  <a:lnTo>
                    <a:pt x="4609" y="1482"/>
                  </a:lnTo>
                  <a:lnTo>
                    <a:pt x="4619" y="1484"/>
                  </a:lnTo>
                  <a:lnTo>
                    <a:pt x="4628" y="1486"/>
                  </a:lnTo>
                  <a:lnTo>
                    <a:pt x="4638" y="1489"/>
                  </a:lnTo>
                  <a:lnTo>
                    <a:pt x="4648" y="1490"/>
                  </a:lnTo>
                  <a:lnTo>
                    <a:pt x="4669" y="1494"/>
                  </a:lnTo>
                  <a:lnTo>
                    <a:pt x="4689" y="1496"/>
                  </a:lnTo>
                  <a:lnTo>
                    <a:pt x="4711" y="1498"/>
                  </a:lnTo>
                  <a:lnTo>
                    <a:pt x="4732" y="1499"/>
                  </a:lnTo>
                  <a:lnTo>
                    <a:pt x="4755" y="1499"/>
                  </a:lnTo>
                  <a:lnTo>
                    <a:pt x="4781" y="1499"/>
                  </a:lnTo>
                  <a:lnTo>
                    <a:pt x="4806" y="1497"/>
                  </a:lnTo>
                  <a:lnTo>
                    <a:pt x="4818" y="1496"/>
                  </a:lnTo>
                  <a:lnTo>
                    <a:pt x="4831" y="1494"/>
                  </a:lnTo>
                  <a:lnTo>
                    <a:pt x="4855" y="1491"/>
                  </a:lnTo>
                  <a:lnTo>
                    <a:pt x="4878" y="1486"/>
                  </a:lnTo>
                  <a:lnTo>
                    <a:pt x="4900" y="1480"/>
                  </a:lnTo>
                  <a:lnTo>
                    <a:pt x="4911" y="1477"/>
                  </a:lnTo>
                  <a:lnTo>
                    <a:pt x="4922" y="1474"/>
                  </a:lnTo>
                  <a:lnTo>
                    <a:pt x="4943" y="1466"/>
                  </a:lnTo>
                  <a:lnTo>
                    <a:pt x="4953" y="1462"/>
                  </a:lnTo>
                  <a:lnTo>
                    <a:pt x="4963" y="1457"/>
                  </a:lnTo>
                  <a:lnTo>
                    <a:pt x="4983" y="1448"/>
                  </a:lnTo>
                  <a:lnTo>
                    <a:pt x="5001" y="1437"/>
                  </a:lnTo>
                  <a:lnTo>
                    <a:pt x="5019" y="1426"/>
                  </a:lnTo>
                  <a:lnTo>
                    <a:pt x="5036" y="1413"/>
                  </a:lnTo>
                  <a:lnTo>
                    <a:pt x="5044" y="1407"/>
                  </a:lnTo>
                  <a:lnTo>
                    <a:pt x="5052" y="1400"/>
                  </a:lnTo>
                  <a:lnTo>
                    <a:pt x="5059" y="1393"/>
                  </a:lnTo>
                  <a:lnTo>
                    <a:pt x="5066" y="1386"/>
                  </a:lnTo>
                  <a:lnTo>
                    <a:pt x="5080" y="1370"/>
                  </a:lnTo>
                  <a:lnTo>
                    <a:pt x="5091" y="1357"/>
                  </a:lnTo>
                  <a:lnTo>
                    <a:pt x="5096" y="1350"/>
                  </a:lnTo>
                  <a:lnTo>
                    <a:pt x="5101" y="1344"/>
                  </a:lnTo>
                  <a:lnTo>
                    <a:pt x="5106" y="1336"/>
                  </a:lnTo>
                  <a:lnTo>
                    <a:pt x="5110" y="1329"/>
                  </a:lnTo>
                  <a:lnTo>
                    <a:pt x="5118" y="1314"/>
                  </a:lnTo>
                  <a:lnTo>
                    <a:pt x="5126" y="1298"/>
                  </a:lnTo>
                  <a:lnTo>
                    <a:pt x="5133" y="1280"/>
                  </a:lnTo>
                  <a:lnTo>
                    <a:pt x="5139" y="1262"/>
                  </a:lnTo>
                  <a:lnTo>
                    <a:pt x="5145" y="1243"/>
                  </a:lnTo>
                  <a:lnTo>
                    <a:pt x="5150" y="1222"/>
                  </a:lnTo>
                  <a:lnTo>
                    <a:pt x="5154" y="1200"/>
                  </a:lnTo>
                  <a:lnTo>
                    <a:pt x="5157" y="1177"/>
                  </a:lnTo>
                  <a:lnTo>
                    <a:pt x="5160" y="1152"/>
                  </a:lnTo>
                  <a:lnTo>
                    <a:pt x="5162" y="1126"/>
                  </a:lnTo>
                  <a:lnTo>
                    <a:pt x="5163" y="1112"/>
                  </a:lnTo>
                  <a:lnTo>
                    <a:pt x="5164" y="1098"/>
                  </a:lnTo>
                  <a:lnTo>
                    <a:pt x="5165" y="1068"/>
                  </a:lnTo>
                  <a:lnTo>
                    <a:pt x="5165" y="1037"/>
                  </a:lnTo>
                  <a:close/>
                  <a:moveTo>
                    <a:pt x="6630" y="1478"/>
                  </a:moveTo>
                  <a:lnTo>
                    <a:pt x="6630" y="957"/>
                  </a:lnTo>
                  <a:lnTo>
                    <a:pt x="6629" y="905"/>
                  </a:lnTo>
                  <a:lnTo>
                    <a:pt x="6629" y="881"/>
                  </a:lnTo>
                  <a:lnTo>
                    <a:pt x="6628" y="859"/>
                  </a:lnTo>
                  <a:lnTo>
                    <a:pt x="6626" y="838"/>
                  </a:lnTo>
                  <a:lnTo>
                    <a:pt x="6625" y="819"/>
                  </a:lnTo>
                  <a:lnTo>
                    <a:pt x="6623" y="801"/>
                  </a:lnTo>
                  <a:lnTo>
                    <a:pt x="6620" y="784"/>
                  </a:lnTo>
                  <a:lnTo>
                    <a:pt x="6617" y="767"/>
                  </a:lnTo>
                  <a:lnTo>
                    <a:pt x="6614" y="752"/>
                  </a:lnTo>
                  <a:lnTo>
                    <a:pt x="6611" y="738"/>
                  </a:lnTo>
                  <a:lnTo>
                    <a:pt x="6607" y="725"/>
                  </a:lnTo>
                  <a:lnTo>
                    <a:pt x="6602" y="713"/>
                  </a:lnTo>
                  <a:lnTo>
                    <a:pt x="6597" y="701"/>
                  </a:lnTo>
                  <a:lnTo>
                    <a:pt x="6592" y="690"/>
                  </a:lnTo>
                  <a:lnTo>
                    <a:pt x="6586" y="680"/>
                  </a:lnTo>
                  <a:lnTo>
                    <a:pt x="6582" y="672"/>
                  </a:lnTo>
                  <a:lnTo>
                    <a:pt x="6577" y="665"/>
                  </a:lnTo>
                  <a:lnTo>
                    <a:pt x="6567" y="651"/>
                  </a:lnTo>
                  <a:lnTo>
                    <a:pt x="6561" y="645"/>
                  </a:lnTo>
                  <a:lnTo>
                    <a:pt x="6556" y="638"/>
                  </a:lnTo>
                  <a:lnTo>
                    <a:pt x="6543" y="626"/>
                  </a:lnTo>
                  <a:lnTo>
                    <a:pt x="6530" y="615"/>
                  </a:lnTo>
                  <a:lnTo>
                    <a:pt x="6523" y="609"/>
                  </a:lnTo>
                  <a:lnTo>
                    <a:pt x="6516" y="604"/>
                  </a:lnTo>
                  <a:lnTo>
                    <a:pt x="6501" y="594"/>
                  </a:lnTo>
                  <a:lnTo>
                    <a:pt x="6485" y="586"/>
                  </a:lnTo>
                  <a:lnTo>
                    <a:pt x="6477" y="582"/>
                  </a:lnTo>
                  <a:lnTo>
                    <a:pt x="6468" y="578"/>
                  </a:lnTo>
                  <a:lnTo>
                    <a:pt x="6451" y="571"/>
                  </a:lnTo>
                  <a:lnTo>
                    <a:pt x="6433" y="565"/>
                  </a:lnTo>
                  <a:lnTo>
                    <a:pt x="6414" y="560"/>
                  </a:lnTo>
                  <a:lnTo>
                    <a:pt x="6405" y="558"/>
                  </a:lnTo>
                  <a:lnTo>
                    <a:pt x="6395" y="556"/>
                  </a:lnTo>
                  <a:lnTo>
                    <a:pt x="6375" y="553"/>
                  </a:lnTo>
                  <a:lnTo>
                    <a:pt x="6355" y="552"/>
                  </a:lnTo>
                  <a:lnTo>
                    <a:pt x="6345" y="551"/>
                  </a:lnTo>
                  <a:lnTo>
                    <a:pt x="6335" y="551"/>
                  </a:lnTo>
                  <a:lnTo>
                    <a:pt x="6322" y="551"/>
                  </a:lnTo>
                  <a:lnTo>
                    <a:pt x="6310" y="552"/>
                  </a:lnTo>
                  <a:lnTo>
                    <a:pt x="6298" y="553"/>
                  </a:lnTo>
                  <a:lnTo>
                    <a:pt x="6286" y="554"/>
                  </a:lnTo>
                  <a:lnTo>
                    <a:pt x="6275" y="556"/>
                  </a:lnTo>
                  <a:lnTo>
                    <a:pt x="6264" y="558"/>
                  </a:lnTo>
                  <a:lnTo>
                    <a:pt x="6253" y="561"/>
                  </a:lnTo>
                  <a:lnTo>
                    <a:pt x="6242" y="564"/>
                  </a:lnTo>
                  <a:lnTo>
                    <a:pt x="6231" y="567"/>
                  </a:lnTo>
                  <a:lnTo>
                    <a:pt x="6221" y="571"/>
                  </a:lnTo>
                  <a:lnTo>
                    <a:pt x="6211" y="575"/>
                  </a:lnTo>
                  <a:lnTo>
                    <a:pt x="6201" y="580"/>
                  </a:lnTo>
                  <a:lnTo>
                    <a:pt x="6191" y="585"/>
                  </a:lnTo>
                  <a:lnTo>
                    <a:pt x="6181" y="590"/>
                  </a:lnTo>
                  <a:lnTo>
                    <a:pt x="6172" y="596"/>
                  </a:lnTo>
                  <a:lnTo>
                    <a:pt x="6163" y="602"/>
                  </a:lnTo>
                  <a:lnTo>
                    <a:pt x="6154" y="609"/>
                  </a:lnTo>
                  <a:lnTo>
                    <a:pt x="6146" y="616"/>
                  </a:lnTo>
                  <a:lnTo>
                    <a:pt x="6137" y="624"/>
                  </a:lnTo>
                  <a:lnTo>
                    <a:pt x="6129" y="632"/>
                  </a:lnTo>
                  <a:lnTo>
                    <a:pt x="6121" y="640"/>
                  </a:lnTo>
                  <a:lnTo>
                    <a:pt x="6113" y="649"/>
                  </a:lnTo>
                  <a:lnTo>
                    <a:pt x="6105" y="658"/>
                  </a:lnTo>
                  <a:lnTo>
                    <a:pt x="6098" y="668"/>
                  </a:lnTo>
                  <a:lnTo>
                    <a:pt x="6091" y="678"/>
                  </a:lnTo>
                  <a:lnTo>
                    <a:pt x="6084" y="688"/>
                  </a:lnTo>
                  <a:lnTo>
                    <a:pt x="6077" y="699"/>
                  </a:lnTo>
                  <a:lnTo>
                    <a:pt x="6070" y="711"/>
                  </a:lnTo>
                  <a:lnTo>
                    <a:pt x="6064" y="723"/>
                  </a:lnTo>
                  <a:lnTo>
                    <a:pt x="6057" y="735"/>
                  </a:lnTo>
                  <a:lnTo>
                    <a:pt x="6051" y="748"/>
                  </a:lnTo>
                  <a:lnTo>
                    <a:pt x="6045" y="761"/>
                  </a:lnTo>
                  <a:lnTo>
                    <a:pt x="6039" y="736"/>
                  </a:lnTo>
                  <a:lnTo>
                    <a:pt x="6035" y="724"/>
                  </a:lnTo>
                  <a:lnTo>
                    <a:pt x="6031" y="712"/>
                  </a:lnTo>
                  <a:lnTo>
                    <a:pt x="6022" y="690"/>
                  </a:lnTo>
                  <a:lnTo>
                    <a:pt x="6017" y="679"/>
                  </a:lnTo>
                  <a:lnTo>
                    <a:pt x="6012" y="669"/>
                  </a:lnTo>
                  <a:lnTo>
                    <a:pt x="6001" y="650"/>
                  </a:lnTo>
                  <a:lnTo>
                    <a:pt x="5995" y="642"/>
                  </a:lnTo>
                  <a:lnTo>
                    <a:pt x="5989" y="633"/>
                  </a:lnTo>
                  <a:lnTo>
                    <a:pt x="5982" y="625"/>
                  </a:lnTo>
                  <a:lnTo>
                    <a:pt x="5975" y="618"/>
                  </a:lnTo>
                  <a:lnTo>
                    <a:pt x="5968" y="610"/>
                  </a:lnTo>
                  <a:lnTo>
                    <a:pt x="5961" y="604"/>
                  </a:lnTo>
                  <a:lnTo>
                    <a:pt x="5953" y="597"/>
                  </a:lnTo>
                  <a:lnTo>
                    <a:pt x="5945" y="591"/>
                  </a:lnTo>
                  <a:lnTo>
                    <a:pt x="5937" y="586"/>
                  </a:lnTo>
                  <a:lnTo>
                    <a:pt x="5928" y="581"/>
                  </a:lnTo>
                  <a:lnTo>
                    <a:pt x="5919" y="576"/>
                  </a:lnTo>
                  <a:lnTo>
                    <a:pt x="5910" y="572"/>
                  </a:lnTo>
                  <a:lnTo>
                    <a:pt x="5900" y="568"/>
                  </a:lnTo>
                  <a:lnTo>
                    <a:pt x="5890" y="564"/>
                  </a:lnTo>
                  <a:lnTo>
                    <a:pt x="5880" y="561"/>
                  </a:lnTo>
                  <a:lnTo>
                    <a:pt x="5870" y="558"/>
                  </a:lnTo>
                  <a:lnTo>
                    <a:pt x="5859" y="556"/>
                  </a:lnTo>
                  <a:lnTo>
                    <a:pt x="5848" y="554"/>
                  </a:lnTo>
                  <a:lnTo>
                    <a:pt x="5837" y="553"/>
                  </a:lnTo>
                  <a:lnTo>
                    <a:pt x="5825" y="552"/>
                  </a:lnTo>
                  <a:lnTo>
                    <a:pt x="5813" y="551"/>
                  </a:lnTo>
                  <a:lnTo>
                    <a:pt x="5801" y="551"/>
                  </a:lnTo>
                  <a:lnTo>
                    <a:pt x="5775" y="552"/>
                  </a:lnTo>
                  <a:lnTo>
                    <a:pt x="5763" y="553"/>
                  </a:lnTo>
                  <a:lnTo>
                    <a:pt x="5751" y="554"/>
                  </a:lnTo>
                  <a:lnTo>
                    <a:pt x="5740" y="556"/>
                  </a:lnTo>
                  <a:lnTo>
                    <a:pt x="5729" y="558"/>
                  </a:lnTo>
                  <a:lnTo>
                    <a:pt x="5718" y="560"/>
                  </a:lnTo>
                  <a:lnTo>
                    <a:pt x="5707" y="563"/>
                  </a:lnTo>
                  <a:lnTo>
                    <a:pt x="5697" y="567"/>
                  </a:lnTo>
                  <a:lnTo>
                    <a:pt x="5687" y="570"/>
                  </a:lnTo>
                  <a:lnTo>
                    <a:pt x="5677" y="574"/>
                  </a:lnTo>
                  <a:lnTo>
                    <a:pt x="5667" y="579"/>
                  </a:lnTo>
                  <a:lnTo>
                    <a:pt x="5658" y="584"/>
                  </a:lnTo>
                  <a:lnTo>
                    <a:pt x="5649" y="589"/>
                  </a:lnTo>
                  <a:lnTo>
                    <a:pt x="5640" y="595"/>
                  </a:lnTo>
                  <a:lnTo>
                    <a:pt x="5631" y="601"/>
                  </a:lnTo>
                  <a:lnTo>
                    <a:pt x="5622" y="607"/>
                  </a:lnTo>
                  <a:lnTo>
                    <a:pt x="5614" y="614"/>
                  </a:lnTo>
                  <a:lnTo>
                    <a:pt x="5606" y="622"/>
                  </a:lnTo>
                  <a:lnTo>
                    <a:pt x="5598" y="629"/>
                  </a:lnTo>
                  <a:lnTo>
                    <a:pt x="5590" y="637"/>
                  </a:lnTo>
                  <a:lnTo>
                    <a:pt x="5582" y="646"/>
                  </a:lnTo>
                  <a:lnTo>
                    <a:pt x="5575" y="655"/>
                  </a:lnTo>
                  <a:lnTo>
                    <a:pt x="5568" y="665"/>
                  </a:lnTo>
                  <a:lnTo>
                    <a:pt x="5553" y="685"/>
                  </a:lnTo>
                  <a:lnTo>
                    <a:pt x="5546" y="695"/>
                  </a:lnTo>
                  <a:lnTo>
                    <a:pt x="5540" y="707"/>
                  </a:lnTo>
                  <a:lnTo>
                    <a:pt x="5533" y="718"/>
                  </a:lnTo>
                  <a:lnTo>
                    <a:pt x="5526" y="730"/>
                  </a:lnTo>
                  <a:lnTo>
                    <a:pt x="5513" y="756"/>
                  </a:lnTo>
                  <a:lnTo>
                    <a:pt x="5513" y="570"/>
                  </a:lnTo>
                  <a:lnTo>
                    <a:pt x="5264" y="570"/>
                  </a:lnTo>
                  <a:lnTo>
                    <a:pt x="5264" y="1024"/>
                  </a:lnTo>
                  <a:lnTo>
                    <a:pt x="5264" y="1478"/>
                  </a:lnTo>
                  <a:lnTo>
                    <a:pt x="5523" y="1478"/>
                  </a:lnTo>
                  <a:lnTo>
                    <a:pt x="5523" y="1057"/>
                  </a:lnTo>
                  <a:lnTo>
                    <a:pt x="5523" y="1035"/>
                  </a:lnTo>
                  <a:lnTo>
                    <a:pt x="5523" y="1015"/>
                  </a:lnTo>
                  <a:lnTo>
                    <a:pt x="5524" y="997"/>
                  </a:lnTo>
                  <a:lnTo>
                    <a:pt x="5525" y="988"/>
                  </a:lnTo>
                  <a:lnTo>
                    <a:pt x="5526" y="979"/>
                  </a:lnTo>
                  <a:lnTo>
                    <a:pt x="5528" y="963"/>
                  </a:lnTo>
                  <a:lnTo>
                    <a:pt x="5530" y="948"/>
                  </a:lnTo>
                  <a:lnTo>
                    <a:pt x="5533" y="935"/>
                  </a:lnTo>
                  <a:lnTo>
                    <a:pt x="5536" y="922"/>
                  </a:lnTo>
                  <a:lnTo>
                    <a:pt x="5541" y="907"/>
                  </a:lnTo>
                  <a:lnTo>
                    <a:pt x="5546" y="893"/>
                  </a:lnTo>
                  <a:lnTo>
                    <a:pt x="5552" y="879"/>
                  </a:lnTo>
                  <a:lnTo>
                    <a:pt x="5559" y="867"/>
                  </a:lnTo>
                  <a:lnTo>
                    <a:pt x="5567" y="855"/>
                  </a:lnTo>
                  <a:lnTo>
                    <a:pt x="5575" y="844"/>
                  </a:lnTo>
                  <a:lnTo>
                    <a:pt x="5584" y="834"/>
                  </a:lnTo>
                  <a:lnTo>
                    <a:pt x="5593" y="824"/>
                  </a:lnTo>
                  <a:lnTo>
                    <a:pt x="5598" y="820"/>
                  </a:lnTo>
                  <a:lnTo>
                    <a:pt x="5603" y="816"/>
                  </a:lnTo>
                  <a:lnTo>
                    <a:pt x="5614" y="809"/>
                  </a:lnTo>
                  <a:lnTo>
                    <a:pt x="5625" y="802"/>
                  </a:lnTo>
                  <a:lnTo>
                    <a:pt x="5631" y="800"/>
                  </a:lnTo>
                  <a:lnTo>
                    <a:pt x="5636" y="797"/>
                  </a:lnTo>
                  <a:lnTo>
                    <a:pt x="5648" y="793"/>
                  </a:lnTo>
                  <a:lnTo>
                    <a:pt x="5661" y="790"/>
                  </a:lnTo>
                  <a:lnTo>
                    <a:pt x="5667" y="789"/>
                  </a:lnTo>
                  <a:lnTo>
                    <a:pt x="5673" y="788"/>
                  </a:lnTo>
                  <a:lnTo>
                    <a:pt x="5680" y="788"/>
                  </a:lnTo>
                  <a:lnTo>
                    <a:pt x="5686" y="788"/>
                  </a:lnTo>
                  <a:lnTo>
                    <a:pt x="5696" y="788"/>
                  </a:lnTo>
                  <a:lnTo>
                    <a:pt x="5705" y="789"/>
                  </a:lnTo>
                  <a:lnTo>
                    <a:pt x="5714" y="790"/>
                  </a:lnTo>
                  <a:lnTo>
                    <a:pt x="5723" y="793"/>
                  </a:lnTo>
                  <a:lnTo>
                    <a:pt x="5732" y="795"/>
                  </a:lnTo>
                  <a:lnTo>
                    <a:pt x="5739" y="799"/>
                  </a:lnTo>
                  <a:lnTo>
                    <a:pt x="5747" y="802"/>
                  </a:lnTo>
                  <a:lnTo>
                    <a:pt x="5754" y="807"/>
                  </a:lnTo>
                  <a:lnTo>
                    <a:pt x="5761" y="812"/>
                  </a:lnTo>
                  <a:lnTo>
                    <a:pt x="5767" y="817"/>
                  </a:lnTo>
                  <a:lnTo>
                    <a:pt x="5773" y="823"/>
                  </a:lnTo>
                  <a:lnTo>
                    <a:pt x="5779" y="830"/>
                  </a:lnTo>
                  <a:lnTo>
                    <a:pt x="5784" y="837"/>
                  </a:lnTo>
                  <a:lnTo>
                    <a:pt x="5789" y="845"/>
                  </a:lnTo>
                  <a:lnTo>
                    <a:pt x="5793" y="853"/>
                  </a:lnTo>
                  <a:lnTo>
                    <a:pt x="5797" y="861"/>
                  </a:lnTo>
                  <a:lnTo>
                    <a:pt x="5800" y="868"/>
                  </a:lnTo>
                  <a:lnTo>
                    <a:pt x="5802" y="875"/>
                  </a:lnTo>
                  <a:lnTo>
                    <a:pt x="5806" y="890"/>
                  </a:lnTo>
                  <a:lnTo>
                    <a:pt x="5809" y="906"/>
                  </a:lnTo>
                  <a:lnTo>
                    <a:pt x="5812" y="924"/>
                  </a:lnTo>
                  <a:lnTo>
                    <a:pt x="5814" y="945"/>
                  </a:lnTo>
                  <a:lnTo>
                    <a:pt x="5816" y="969"/>
                  </a:lnTo>
                  <a:lnTo>
                    <a:pt x="5816" y="981"/>
                  </a:lnTo>
                  <a:lnTo>
                    <a:pt x="5816" y="995"/>
                  </a:lnTo>
                  <a:lnTo>
                    <a:pt x="5817" y="1024"/>
                  </a:lnTo>
                  <a:lnTo>
                    <a:pt x="5817" y="1478"/>
                  </a:lnTo>
                  <a:lnTo>
                    <a:pt x="6077" y="1478"/>
                  </a:lnTo>
                  <a:lnTo>
                    <a:pt x="6077" y="1041"/>
                  </a:lnTo>
                  <a:lnTo>
                    <a:pt x="6077" y="1026"/>
                  </a:lnTo>
                  <a:lnTo>
                    <a:pt x="6077" y="1011"/>
                  </a:lnTo>
                  <a:lnTo>
                    <a:pt x="6078" y="997"/>
                  </a:lnTo>
                  <a:lnTo>
                    <a:pt x="6079" y="983"/>
                  </a:lnTo>
                  <a:lnTo>
                    <a:pt x="6081" y="970"/>
                  </a:lnTo>
                  <a:lnTo>
                    <a:pt x="6083" y="957"/>
                  </a:lnTo>
                  <a:lnTo>
                    <a:pt x="6085" y="944"/>
                  </a:lnTo>
                  <a:lnTo>
                    <a:pt x="6087" y="932"/>
                  </a:lnTo>
                  <a:lnTo>
                    <a:pt x="6093" y="910"/>
                  </a:lnTo>
                  <a:lnTo>
                    <a:pt x="6096" y="899"/>
                  </a:lnTo>
                  <a:lnTo>
                    <a:pt x="6100" y="889"/>
                  </a:lnTo>
                  <a:lnTo>
                    <a:pt x="6104" y="879"/>
                  </a:lnTo>
                  <a:lnTo>
                    <a:pt x="6108" y="870"/>
                  </a:lnTo>
                  <a:lnTo>
                    <a:pt x="6113" y="861"/>
                  </a:lnTo>
                  <a:lnTo>
                    <a:pt x="6118" y="853"/>
                  </a:lnTo>
                  <a:lnTo>
                    <a:pt x="6123" y="845"/>
                  </a:lnTo>
                  <a:lnTo>
                    <a:pt x="6129" y="838"/>
                  </a:lnTo>
                  <a:lnTo>
                    <a:pt x="6135" y="831"/>
                  </a:lnTo>
                  <a:lnTo>
                    <a:pt x="6141" y="824"/>
                  </a:lnTo>
                  <a:lnTo>
                    <a:pt x="6148" y="819"/>
                  </a:lnTo>
                  <a:lnTo>
                    <a:pt x="6155" y="813"/>
                  </a:lnTo>
                  <a:lnTo>
                    <a:pt x="6162" y="808"/>
                  </a:lnTo>
                  <a:lnTo>
                    <a:pt x="6169" y="804"/>
                  </a:lnTo>
                  <a:lnTo>
                    <a:pt x="6177" y="800"/>
                  </a:lnTo>
                  <a:lnTo>
                    <a:pt x="6185" y="797"/>
                  </a:lnTo>
                  <a:lnTo>
                    <a:pt x="6194" y="794"/>
                  </a:lnTo>
                  <a:lnTo>
                    <a:pt x="6202" y="792"/>
                  </a:lnTo>
                  <a:lnTo>
                    <a:pt x="6211" y="790"/>
                  </a:lnTo>
                  <a:lnTo>
                    <a:pt x="6221" y="789"/>
                  </a:lnTo>
                  <a:lnTo>
                    <a:pt x="6230" y="788"/>
                  </a:lnTo>
                  <a:lnTo>
                    <a:pt x="6240" y="788"/>
                  </a:lnTo>
                  <a:lnTo>
                    <a:pt x="6252" y="788"/>
                  </a:lnTo>
                  <a:lnTo>
                    <a:pt x="6263" y="789"/>
                  </a:lnTo>
                  <a:lnTo>
                    <a:pt x="6273" y="791"/>
                  </a:lnTo>
                  <a:lnTo>
                    <a:pt x="6283" y="793"/>
                  </a:lnTo>
                  <a:lnTo>
                    <a:pt x="6293" y="796"/>
                  </a:lnTo>
                  <a:lnTo>
                    <a:pt x="6302" y="800"/>
                  </a:lnTo>
                  <a:lnTo>
                    <a:pt x="6306" y="802"/>
                  </a:lnTo>
                  <a:lnTo>
                    <a:pt x="6310" y="804"/>
                  </a:lnTo>
                  <a:lnTo>
                    <a:pt x="6318" y="809"/>
                  </a:lnTo>
                  <a:lnTo>
                    <a:pt x="6325" y="815"/>
                  </a:lnTo>
                  <a:lnTo>
                    <a:pt x="6332" y="821"/>
                  </a:lnTo>
                  <a:lnTo>
                    <a:pt x="6338" y="829"/>
                  </a:lnTo>
                  <a:lnTo>
                    <a:pt x="6344" y="837"/>
                  </a:lnTo>
                  <a:lnTo>
                    <a:pt x="6349" y="845"/>
                  </a:lnTo>
                  <a:lnTo>
                    <a:pt x="6353" y="855"/>
                  </a:lnTo>
                  <a:lnTo>
                    <a:pt x="6357" y="865"/>
                  </a:lnTo>
                  <a:lnTo>
                    <a:pt x="6360" y="876"/>
                  </a:lnTo>
                  <a:lnTo>
                    <a:pt x="6362" y="887"/>
                  </a:lnTo>
                  <a:lnTo>
                    <a:pt x="6364" y="900"/>
                  </a:lnTo>
                  <a:lnTo>
                    <a:pt x="6366" y="915"/>
                  </a:lnTo>
                  <a:lnTo>
                    <a:pt x="6367" y="931"/>
                  </a:lnTo>
                  <a:lnTo>
                    <a:pt x="6369" y="969"/>
                  </a:lnTo>
                  <a:lnTo>
                    <a:pt x="6370" y="990"/>
                  </a:lnTo>
                  <a:lnTo>
                    <a:pt x="6370" y="1011"/>
                  </a:lnTo>
                  <a:lnTo>
                    <a:pt x="6370" y="1478"/>
                  </a:lnTo>
                  <a:lnTo>
                    <a:pt x="6630" y="1478"/>
                  </a:lnTo>
                  <a:close/>
                  <a:moveTo>
                    <a:pt x="2027" y="314"/>
                  </a:moveTo>
                  <a:lnTo>
                    <a:pt x="2012" y="315"/>
                  </a:lnTo>
                  <a:lnTo>
                    <a:pt x="2005" y="316"/>
                  </a:lnTo>
                  <a:lnTo>
                    <a:pt x="1998" y="317"/>
                  </a:lnTo>
                  <a:lnTo>
                    <a:pt x="1991" y="318"/>
                  </a:lnTo>
                  <a:lnTo>
                    <a:pt x="1985" y="320"/>
                  </a:lnTo>
                  <a:lnTo>
                    <a:pt x="1979" y="322"/>
                  </a:lnTo>
                  <a:lnTo>
                    <a:pt x="1972" y="324"/>
                  </a:lnTo>
                  <a:lnTo>
                    <a:pt x="1961" y="330"/>
                  </a:lnTo>
                  <a:lnTo>
                    <a:pt x="1955" y="333"/>
                  </a:lnTo>
                  <a:lnTo>
                    <a:pt x="1950" y="337"/>
                  </a:lnTo>
                  <a:lnTo>
                    <a:pt x="1940" y="344"/>
                  </a:lnTo>
                  <a:lnTo>
                    <a:pt x="1935" y="349"/>
                  </a:lnTo>
                  <a:lnTo>
                    <a:pt x="1931" y="353"/>
                  </a:lnTo>
                  <a:lnTo>
                    <a:pt x="1923" y="363"/>
                  </a:lnTo>
                  <a:lnTo>
                    <a:pt x="1919" y="369"/>
                  </a:lnTo>
                  <a:lnTo>
                    <a:pt x="1916" y="374"/>
                  </a:lnTo>
                  <a:lnTo>
                    <a:pt x="1913" y="380"/>
                  </a:lnTo>
                  <a:lnTo>
                    <a:pt x="1910" y="386"/>
                  </a:lnTo>
                  <a:lnTo>
                    <a:pt x="1905" y="399"/>
                  </a:lnTo>
                  <a:lnTo>
                    <a:pt x="1901" y="413"/>
                  </a:lnTo>
                  <a:lnTo>
                    <a:pt x="1899" y="420"/>
                  </a:lnTo>
                  <a:lnTo>
                    <a:pt x="1898" y="427"/>
                  </a:lnTo>
                  <a:lnTo>
                    <a:pt x="1896" y="443"/>
                  </a:lnTo>
                  <a:lnTo>
                    <a:pt x="1896" y="451"/>
                  </a:lnTo>
                  <a:lnTo>
                    <a:pt x="1896" y="459"/>
                  </a:lnTo>
                  <a:lnTo>
                    <a:pt x="1896" y="571"/>
                  </a:lnTo>
                  <a:lnTo>
                    <a:pt x="2079" y="571"/>
                  </a:lnTo>
                  <a:lnTo>
                    <a:pt x="2079" y="777"/>
                  </a:lnTo>
                  <a:lnTo>
                    <a:pt x="1896" y="777"/>
                  </a:lnTo>
                  <a:lnTo>
                    <a:pt x="1896" y="1479"/>
                  </a:lnTo>
                  <a:lnTo>
                    <a:pt x="1645" y="1479"/>
                  </a:lnTo>
                  <a:lnTo>
                    <a:pt x="1645" y="779"/>
                  </a:lnTo>
                  <a:lnTo>
                    <a:pt x="1529" y="779"/>
                  </a:lnTo>
                  <a:lnTo>
                    <a:pt x="1529" y="576"/>
                  </a:lnTo>
                  <a:lnTo>
                    <a:pt x="1645" y="576"/>
                  </a:lnTo>
                  <a:lnTo>
                    <a:pt x="1645" y="482"/>
                  </a:lnTo>
                  <a:lnTo>
                    <a:pt x="1645" y="447"/>
                  </a:lnTo>
                  <a:lnTo>
                    <a:pt x="1646" y="430"/>
                  </a:lnTo>
                  <a:lnTo>
                    <a:pt x="1647" y="412"/>
                  </a:lnTo>
                  <a:lnTo>
                    <a:pt x="1649" y="395"/>
                  </a:lnTo>
                  <a:lnTo>
                    <a:pt x="1650" y="377"/>
                  </a:lnTo>
                  <a:lnTo>
                    <a:pt x="1653" y="360"/>
                  </a:lnTo>
                  <a:lnTo>
                    <a:pt x="1655" y="343"/>
                  </a:lnTo>
                  <a:lnTo>
                    <a:pt x="1659" y="326"/>
                  </a:lnTo>
                  <a:lnTo>
                    <a:pt x="1663" y="310"/>
                  </a:lnTo>
                  <a:lnTo>
                    <a:pt x="1667" y="294"/>
                  </a:lnTo>
                  <a:lnTo>
                    <a:pt x="1672" y="278"/>
                  </a:lnTo>
                  <a:lnTo>
                    <a:pt x="1678" y="262"/>
                  </a:lnTo>
                  <a:lnTo>
                    <a:pt x="1685" y="247"/>
                  </a:lnTo>
                  <a:lnTo>
                    <a:pt x="1692" y="233"/>
                  </a:lnTo>
                  <a:lnTo>
                    <a:pt x="1696" y="225"/>
                  </a:lnTo>
                  <a:lnTo>
                    <a:pt x="1700" y="218"/>
                  </a:lnTo>
                  <a:lnTo>
                    <a:pt x="1705" y="212"/>
                  </a:lnTo>
                  <a:lnTo>
                    <a:pt x="1709" y="205"/>
                  </a:lnTo>
                  <a:lnTo>
                    <a:pt x="1719" y="192"/>
                  </a:lnTo>
                  <a:lnTo>
                    <a:pt x="1730" y="180"/>
                  </a:lnTo>
                  <a:lnTo>
                    <a:pt x="1742" y="168"/>
                  </a:lnTo>
                  <a:lnTo>
                    <a:pt x="1755" y="157"/>
                  </a:lnTo>
                  <a:lnTo>
                    <a:pt x="1761" y="152"/>
                  </a:lnTo>
                  <a:lnTo>
                    <a:pt x="1769" y="147"/>
                  </a:lnTo>
                  <a:lnTo>
                    <a:pt x="1784" y="137"/>
                  </a:lnTo>
                  <a:lnTo>
                    <a:pt x="1791" y="133"/>
                  </a:lnTo>
                  <a:lnTo>
                    <a:pt x="1800" y="129"/>
                  </a:lnTo>
                  <a:lnTo>
                    <a:pt x="1817" y="121"/>
                  </a:lnTo>
                  <a:lnTo>
                    <a:pt x="1826" y="117"/>
                  </a:lnTo>
                  <a:lnTo>
                    <a:pt x="1835" y="114"/>
                  </a:lnTo>
                  <a:lnTo>
                    <a:pt x="1855" y="108"/>
                  </a:lnTo>
                  <a:lnTo>
                    <a:pt x="1876" y="103"/>
                  </a:lnTo>
                  <a:lnTo>
                    <a:pt x="1899" y="99"/>
                  </a:lnTo>
                  <a:lnTo>
                    <a:pt x="1910" y="98"/>
                  </a:lnTo>
                  <a:lnTo>
                    <a:pt x="1923" y="96"/>
                  </a:lnTo>
                  <a:lnTo>
                    <a:pt x="1948" y="95"/>
                  </a:lnTo>
                  <a:lnTo>
                    <a:pt x="1961" y="94"/>
                  </a:lnTo>
                  <a:lnTo>
                    <a:pt x="1974" y="94"/>
                  </a:lnTo>
                  <a:lnTo>
                    <a:pt x="1999" y="94"/>
                  </a:lnTo>
                  <a:lnTo>
                    <a:pt x="2021" y="95"/>
                  </a:lnTo>
                  <a:lnTo>
                    <a:pt x="2041" y="97"/>
                  </a:lnTo>
                  <a:lnTo>
                    <a:pt x="2061" y="99"/>
                  </a:lnTo>
                  <a:lnTo>
                    <a:pt x="2080" y="102"/>
                  </a:lnTo>
                  <a:lnTo>
                    <a:pt x="2100" y="106"/>
                  </a:lnTo>
                  <a:lnTo>
                    <a:pt x="2122" y="110"/>
                  </a:lnTo>
                  <a:lnTo>
                    <a:pt x="2146" y="115"/>
                  </a:lnTo>
                  <a:lnTo>
                    <a:pt x="2146" y="330"/>
                  </a:lnTo>
                  <a:lnTo>
                    <a:pt x="2122" y="325"/>
                  </a:lnTo>
                  <a:lnTo>
                    <a:pt x="2110" y="322"/>
                  </a:lnTo>
                  <a:lnTo>
                    <a:pt x="2097" y="319"/>
                  </a:lnTo>
                  <a:lnTo>
                    <a:pt x="2082" y="317"/>
                  </a:lnTo>
                  <a:lnTo>
                    <a:pt x="2066" y="316"/>
                  </a:lnTo>
                  <a:lnTo>
                    <a:pt x="2048" y="315"/>
                  </a:lnTo>
                  <a:lnTo>
                    <a:pt x="2027" y="31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964"/>
            </a:p>
          </p:txBody>
        </p:sp>
      </p:grpSp>
    </p:spTree>
    <p:extLst>
      <p:ext uri="{BB962C8B-B14F-4D97-AF65-F5344CB8AC3E}">
        <p14:creationId xmlns:p14="http://schemas.microsoft.com/office/powerpoint/2010/main" val="1259949874"/>
      </p:ext>
    </p:extLst>
  </p:cSld>
  <p:clrMapOvr>
    <a:masterClrMapping/>
  </p:clrMapOvr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Picture" preserve="1" userDrawn="1">
  <p:cSld name="title_slid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>
          <a:xfrm>
            <a:off x="14482263" y="8732240"/>
            <a:ext cx="2117036" cy="65527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8016" tIns="64008" rIns="128016" bIns="640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964"/>
          </a:p>
        </p:txBody>
      </p:sp>
      <p:sp>
        <p:nvSpPr>
          <p:cNvPr id="21" name="Rectangle 20"/>
          <p:cNvSpPr>
            <a:spLocks/>
          </p:cNvSpPr>
          <p:nvPr userDrawn="1"/>
        </p:nvSpPr>
        <p:spPr>
          <a:xfrm>
            <a:off x="1667017" y="0"/>
            <a:ext cx="826560" cy="38024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8016" tIns="64008" rIns="128016" bIns="640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964"/>
          </a:p>
        </p:txBody>
      </p:sp>
      <p:sp>
        <p:nvSpPr>
          <p:cNvPr id="22" name="Rectangle 21"/>
          <p:cNvSpPr>
            <a:spLocks noChangeAspect="1"/>
          </p:cNvSpPr>
          <p:nvPr userDrawn="1"/>
        </p:nvSpPr>
        <p:spPr>
          <a:xfrm>
            <a:off x="1362414" y="1358628"/>
            <a:ext cx="331356" cy="33135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8016" tIns="64008" rIns="128016" bIns="640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964"/>
          </a:p>
        </p:txBody>
      </p:sp>
      <p:sp>
        <p:nvSpPr>
          <p:cNvPr id="24" name="Rectangle 23"/>
          <p:cNvSpPr>
            <a:spLocks noChangeAspect="1"/>
          </p:cNvSpPr>
          <p:nvPr userDrawn="1"/>
        </p:nvSpPr>
        <p:spPr>
          <a:xfrm>
            <a:off x="5" y="0"/>
            <a:ext cx="1083707" cy="1083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964"/>
          </a:p>
        </p:txBody>
      </p:sp>
      <p:sp>
        <p:nvSpPr>
          <p:cNvPr id="25" name="Rectangle 24"/>
          <p:cNvSpPr/>
          <p:nvPr userDrawn="1"/>
        </p:nvSpPr>
        <p:spPr>
          <a:xfrm>
            <a:off x="-1" y="1070481"/>
            <a:ext cx="307440" cy="30744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8016" tIns="64008" rIns="128016" bIns="640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964"/>
          </a:p>
        </p:txBody>
      </p:sp>
      <p:sp>
        <p:nvSpPr>
          <p:cNvPr id="23" name="Picture Placeholder 22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7068800" cy="96012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0380476" y="6273316"/>
                </a:moveTo>
                <a:lnTo>
                  <a:pt x="10380476" y="6669360"/>
                </a:lnTo>
                <a:lnTo>
                  <a:pt x="11820636" y="6669360"/>
                </a:lnTo>
                <a:lnTo>
                  <a:pt x="11820636" y="6273316"/>
                </a:lnTo>
                <a:close/>
                <a:moveTo>
                  <a:pt x="983432" y="980728"/>
                </a:moveTo>
                <a:lnTo>
                  <a:pt x="983432" y="1196975"/>
                </a:lnTo>
                <a:lnTo>
                  <a:pt x="1199679" y="1196975"/>
                </a:lnTo>
                <a:lnTo>
                  <a:pt x="1199679" y="980728"/>
                </a:lnTo>
                <a:close/>
                <a:moveTo>
                  <a:pt x="767408" y="0"/>
                </a:moveTo>
                <a:lnTo>
                  <a:pt x="1199456" y="0"/>
                </a:lnTo>
                <a:lnTo>
                  <a:pt x="1199456" y="260648"/>
                </a:lnTo>
                <a:lnTo>
                  <a:pt x="1775520" y="260648"/>
                </a:lnTo>
                <a:lnTo>
                  <a:pt x="1775520" y="0"/>
                </a:lnTo>
                <a:lnTo>
                  <a:pt x="12192000" y="0"/>
                </a:lnTo>
                <a:lnTo>
                  <a:pt x="12192000" y="5517290"/>
                </a:lnTo>
                <a:lnTo>
                  <a:pt x="12192000" y="6858000"/>
                </a:lnTo>
                <a:lnTo>
                  <a:pt x="12000656" y="6858000"/>
                </a:lnTo>
                <a:lnTo>
                  <a:pt x="11641138" y="6858000"/>
                </a:lnTo>
                <a:lnTo>
                  <a:pt x="10236460" y="6858000"/>
                </a:lnTo>
                <a:lnTo>
                  <a:pt x="10056440" y="6858000"/>
                </a:lnTo>
                <a:lnTo>
                  <a:pt x="9408460" y="6858000"/>
                </a:lnTo>
                <a:lnTo>
                  <a:pt x="0" y="6858000"/>
                </a:lnTo>
                <a:lnTo>
                  <a:pt x="0" y="980728"/>
                </a:lnTo>
                <a:lnTo>
                  <a:pt x="216545" y="980728"/>
                </a:lnTo>
                <a:lnTo>
                  <a:pt x="216545" y="764704"/>
                </a:lnTo>
                <a:lnTo>
                  <a:pt x="767408" y="764704"/>
                </a:lnTo>
                <a:close/>
              </a:path>
            </a:pathLst>
          </a:custGeom>
          <a:solidFill>
            <a:srgbClr val="EAEAEA"/>
          </a:solidFill>
        </p:spPr>
        <p:txBody>
          <a:bodyPr/>
          <a:lstStyle>
            <a:lvl1pPr marL="0" indent="0" algn="r">
              <a:buFontTx/>
              <a:buNone/>
              <a:defRPr sz="1680"/>
            </a:lvl1pPr>
          </a:lstStyle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71217" y="2696400"/>
            <a:ext cx="12903835" cy="1814400"/>
          </a:xfrm>
        </p:spPr>
        <p:txBody>
          <a:bodyPr anchor="t" anchorCtr="0"/>
          <a:lstStyle>
            <a:lvl1pPr algn="l">
              <a:defRPr sz="7000" b="1">
                <a:solidFill>
                  <a:schemeClr val="accent2"/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71217" y="1965600"/>
            <a:ext cx="12903835" cy="504000"/>
          </a:xfrm>
        </p:spPr>
        <p:txBody>
          <a:bodyPr anchor="b" anchorCtr="0"/>
          <a:lstStyle>
            <a:lvl1pPr marL="0" indent="0" algn="l">
              <a:buNone/>
              <a:defRPr sz="2800">
                <a:solidFill>
                  <a:schemeClr val="accent2"/>
                </a:solidFill>
              </a:defRPr>
            </a:lvl1pPr>
            <a:lvl2pPr marL="640064" indent="0" algn="ctr">
              <a:buNone/>
              <a:defRPr sz="2800"/>
            </a:lvl2pPr>
            <a:lvl3pPr marL="1280128" indent="0" algn="ctr">
              <a:buNone/>
              <a:defRPr sz="2520"/>
            </a:lvl3pPr>
            <a:lvl4pPr marL="1920192" indent="0" algn="ctr">
              <a:buNone/>
              <a:defRPr sz="2240"/>
            </a:lvl4pPr>
            <a:lvl5pPr marL="2560256" indent="0" algn="ctr">
              <a:buNone/>
              <a:defRPr sz="2240"/>
            </a:lvl5pPr>
            <a:lvl6pPr marL="3200320" indent="0" algn="ctr">
              <a:buNone/>
              <a:defRPr sz="2240"/>
            </a:lvl6pPr>
            <a:lvl7pPr marL="3840384" indent="0" algn="ctr">
              <a:buNone/>
              <a:defRPr sz="2240"/>
            </a:lvl7pPr>
            <a:lvl8pPr marL="4480448" indent="0" algn="ctr">
              <a:buNone/>
              <a:defRPr sz="2240"/>
            </a:lvl8pPr>
            <a:lvl9pPr marL="5120512" indent="0" algn="ctr">
              <a:buNone/>
              <a:defRPr sz="2240"/>
            </a:lvl9pPr>
          </a:lstStyle>
          <a:p>
            <a:r>
              <a:rPr lang="ru-RU" dirty="0"/>
              <a:t>Образец стиля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16.11.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771217" y="6514393"/>
            <a:ext cx="12903835" cy="1008773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r>
              <a:rPr lang="ru-RU" dirty="0"/>
              <a:t>Имя</a:t>
            </a:r>
            <a:r>
              <a:rPr lang="en-US" dirty="0"/>
              <a:t> / </a:t>
            </a:r>
            <a:r>
              <a:rPr lang="ru-RU" dirty="0"/>
              <a:t>Название</a:t>
            </a:r>
            <a:r>
              <a:rPr lang="en-US" dirty="0"/>
              <a:t> / </a:t>
            </a:r>
            <a:r>
              <a:rPr lang="ru-RU" dirty="0"/>
              <a:t>Дата</a:t>
            </a:r>
            <a:endParaRPr lang="en-US" dirty="0"/>
          </a:p>
        </p:txBody>
      </p:sp>
      <p:pic>
        <p:nvPicPr>
          <p:cNvPr id="17" name="Рисунок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84697" y="8867620"/>
            <a:ext cx="1562335" cy="384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1161145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Nega Picture" preserve="1" userDrawn="1">
  <p:cSld name="title_slide_nega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>
            <a:spLocks/>
          </p:cNvSpPr>
          <p:nvPr userDrawn="1"/>
        </p:nvSpPr>
        <p:spPr>
          <a:xfrm>
            <a:off x="1667017" y="0"/>
            <a:ext cx="826560" cy="38024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8016" tIns="64008" rIns="128016" bIns="640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964"/>
          </a:p>
        </p:txBody>
      </p:sp>
      <p:sp>
        <p:nvSpPr>
          <p:cNvPr id="21" name="Rectangle 20"/>
          <p:cNvSpPr>
            <a:spLocks noChangeAspect="1"/>
          </p:cNvSpPr>
          <p:nvPr userDrawn="1"/>
        </p:nvSpPr>
        <p:spPr>
          <a:xfrm>
            <a:off x="1362414" y="1358628"/>
            <a:ext cx="331356" cy="33135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8016" tIns="64008" rIns="128016" bIns="640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964"/>
          </a:p>
        </p:txBody>
      </p:sp>
      <p:sp>
        <p:nvSpPr>
          <p:cNvPr id="22" name="Rectangle 21"/>
          <p:cNvSpPr>
            <a:spLocks noChangeAspect="1"/>
          </p:cNvSpPr>
          <p:nvPr userDrawn="1"/>
        </p:nvSpPr>
        <p:spPr>
          <a:xfrm>
            <a:off x="5" y="0"/>
            <a:ext cx="1083707" cy="1083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964"/>
          </a:p>
        </p:txBody>
      </p:sp>
      <p:sp>
        <p:nvSpPr>
          <p:cNvPr id="24" name="Rectangle 23"/>
          <p:cNvSpPr/>
          <p:nvPr userDrawn="1"/>
        </p:nvSpPr>
        <p:spPr>
          <a:xfrm>
            <a:off x="-1" y="1070481"/>
            <a:ext cx="307440" cy="30744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8016" tIns="64008" rIns="128016" bIns="640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964"/>
          </a:p>
        </p:txBody>
      </p:sp>
      <p:sp>
        <p:nvSpPr>
          <p:cNvPr id="17" name="Rectangle 16"/>
          <p:cNvSpPr/>
          <p:nvPr userDrawn="1"/>
        </p:nvSpPr>
        <p:spPr>
          <a:xfrm>
            <a:off x="14482263" y="8732240"/>
            <a:ext cx="2117036" cy="65527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8016" tIns="64008" rIns="128016" bIns="640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964"/>
          </a:p>
        </p:txBody>
      </p:sp>
      <p:sp>
        <p:nvSpPr>
          <p:cNvPr id="19" name="Picture Placeholder 22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7068800" cy="96012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0380476" y="6273316"/>
                </a:moveTo>
                <a:lnTo>
                  <a:pt x="10380476" y="6669360"/>
                </a:lnTo>
                <a:lnTo>
                  <a:pt x="11820636" y="6669360"/>
                </a:lnTo>
                <a:lnTo>
                  <a:pt x="11820636" y="6273316"/>
                </a:lnTo>
                <a:close/>
                <a:moveTo>
                  <a:pt x="983432" y="980728"/>
                </a:moveTo>
                <a:lnTo>
                  <a:pt x="983432" y="1196975"/>
                </a:lnTo>
                <a:lnTo>
                  <a:pt x="1199679" y="1196975"/>
                </a:lnTo>
                <a:lnTo>
                  <a:pt x="1199679" y="980728"/>
                </a:lnTo>
                <a:close/>
                <a:moveTo>
                  <a:pt x="767408" y="0"/>
                </a:moveTo>
                <a:lnTo>
                  <a:pt x="1199456" y="0"/>
                </a:lnTo>
                <a:lnTo>
                  <a:pt x="1199456" y="260648"/>
                </a:lnTo>
                <a:lnTo>
                  <a:pt x="1775520" y="260648"/>
                </a:lnTo>
                <a:lnTo>
                  <a:pt x="1775520" y="0"/>
                </a:lnTo>
                <a:lnTo>
                  <a:pt x="12192000" y="0"/>
                </a:lnTo>
                <a:lnTo>
                  <a:pt x="12192000" y="5517290"/>
                </a:lnTo>
                <a:lnTo>
                  <a:pt x="12192000" y="6858000"/>
                </a:lnTo>
                <a:lnTo>
                  <a:pt x="12000656" y="6858000"/>
                </a:lnTo>
                <a:lnTo>
                  <a:pt x="11641138" y="6858000"/>
                </a:lnTo>
                <a:lnTo>
                  <a:pt x="10236460" y="6858000"/>
                </a:lnTo>
                <a:lnTo>
                  <a:pt x="10056440" y="6858000"/>
                </a:lnTo>
                <a:lnTo>
                  <a:pt x="9408460" y="6858000"/>
                </a:lnTo>
                <a:lnTo>
                  <a:pt x="0" y="6858000"/>
                </a:lnTo>
                <a:lnTo>
                  <a:pt x="0" y="980728"/>
                </a:lnTo>
                <a:lnTo>
                  <a:pt x="216545" y="980728"/>
                </a:lnTo>
                <a:lnTo>
                  <a:pt x="216545" y="764704"/>
                </a:lnTo>
                <a:lnTo>
                  <a:pt x="767408" y="764704"/>
                </a:lnTo>
                <a:close/>
              </a:path>
            </a:pathLst>
          </a:custGeom>
          <a:solidFill>
            <a:srgbClr val="EAEAEA"/>
          </a:solidFill>
        </p:spPr>
        <p:txBody>
          <a:bodyPr/>
          <a:lstStyle>
            <a:lvl1pPr marL="0" indent="0" algn="r">
              <a:buFontTx/>
              <a:buNone/>
              <a:defRPr sz="1680"/>
            </a:lvl1pPr>
          </a:lstStyle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71217" y="2696400"/>
            <a:ext cx="12903835" cy="1814400"/>
          </a:xfrm>
        </p:spPr>
        <p:txBody>
          <a:bodyPr anchor="t" anchorCtr="0"/>
          <a:lstStyle>
            <a:lvl1pPr algn="l">
              <a:defRPr sz="7000" b="1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5000"/>
                    </a:prstClr>
                  </a:outerShdw>
                </a:effectLst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71217" y="1965600"/>
            <a:ext cx="12903835" cy="504000"/>
          </a:xfrm>
        </p:spPr>
        <p:txBody>
          <a:bodyPr anchor="b" anchorCtr="0"/>
          <a:lstStyle>
            <a:lvl1pPr marL="0" indent="0" algn="l">
              <a:buNone/>
              <a:defRPr sz="280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5000"/>
                    </a:prstClr>
                  </a:outerShdw>
                </a:effectLst>
              </a:defRPr>
            </a:lvl1pPr>
            <a:lvl2pPr marL="640064" indent="0" algn="ctr">
              <a:buNone/>
              <a:defRPr sz="2800"/>
            </a:lvl2pPr>
            <a:lvl3pPr marL="1280128" indent="0" algn="ctr">
              <a:buNone/>
              <a:defRPr sz="2520"/>
            </a:lvl3pPr>
            <a:lvl4pPr marL="1920192" indent="0" algn="ctr">
              <a:buNone/>
              <a:defRPr sz="2240"/>
            </a:lvl4pPr>
            <a:lvl5pPr marL="2560256" indent="0" algn="ctr">
              <a:buNone/>
              <a:defRPr sz="2240"/>
            </a:lvl5pPr>
            <a:lvl6pPr marL="3200320" indent="0" algn="ctr">
              <a:buNone/>
              <a:defRPr sz="2240"/>
            </a:lvl6pPr>
            <a:lvl7pPr marL="3840384" indent="0" algn="ctr">
              <a:buNone/>
              <a:defRPr sz="2240"/>
            </a:lvl7pPr>
            <a:lvl8pPr marL="4480448" indent="0" algn="ctr">
              <a:buNone/>
              <a:defRPr sz="2240"/>
            </a:lvl8pPr>
            <a:lvl9pPr marL="5120512" indent="0" algn="ctr">
              <a:buNone/>
              <a:defRPr sz="2240"/>
            </a:lvl9pPr>
          </a:lstStyle>
          <a:p>
            <a:r>
              <a:rPr lang="ru-RU" dirty="0"/>
              <a:t>Образец стиля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16.11.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771217" y="6514393"/>
            <a:ext cx="12903835" cy="1008773"/>
          </a:xfrm>
        </p:spPr>
        <p:txBody>
          <a:bodyPr/>
          <a:lstStyle>
            <a:lvl1pPr marL="0" indent="0">
              <a:buFontTx/>
              <a:buNone/>
              <a:defRPr baseline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5000"/>
                    </a:prstClr>
                  </a:outerShdw>
                </a:effectLst>
              </a:defRPr>
            </a:lvl1pPr>
          </a:lstStyle>
          <a:p>
            <a:pPr lvl="0"/>
            <a:r>
              <a:rPr lang="ru-RU" dirty="0"/>
              <a:t>Имя</a:t>
            </a:r>
            <a:r>
              <a:rPr lang="en-US" dirty="0"/>
              <a:t> / </a:t>
            </a:r>
            <a:r>
              <a:rPr lang="ru-RU" dirty="0"/>
              <a:t>Название</a:t>
            </a:r>
            <a:r>
              <a:rPr lang="en-US" dirty="0"/>
              <a:t> / </a:t>
            </a:r>
            <a:r>
              <a:rPr lang="ru-RU" dirty="0"/>
              <a:t>Дата</a:t>
            </a:r>
            <a:endParaRPr lang="en-US" dirty="0"/>
          </a:p>
        </p:txBody>
      </p:sp>
      <p:pic>
        <p:nvPicPr>
          <p:cNvPr id="23" name="Рисунок 2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84697" y="8867620"/>
            <a:ext cx="1562335" cy="384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1060819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and Content" type="obj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Заголовок слайд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71941" y="1877079"/>
            <a:ext cx="15526385" cy="6451915"/>
          </a:xfrm>
        </p:spPr>
        <p:txBody>
          <a:bodyPr/>
          <a:lstStyle>
            <a:lvl1pPr>
              <a:defRPr/>
            </a:lvl1pPr>
            <a:lvl2pPr>
              <a:defRPr baseline="0"/>
            </a:lvl2pPr>
            <a:lvl3pPr>
              <a:defRPr/>
            </a:lvl3pPr>
            <a:lvl4pPr>
              <a:defRPr/>
            </a:lvl4pPr>
            <a:lvl5pPr marL="1500149" marR="0" indent="0" algn="l" defTabSz="1280128" rtl="0" eaLnBrk="1" fontAlgn="auto" latinLnBrk="0" hangingPunct="1">
              <a:lnSpc>
                <a:spcPct val="100000"/>
              </a:lnSpc>
              <a:spcBef>
                <a:spcPts val="112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lvl5pPr>
          </a:lstStyle>
          <a:p>
            <a:pPr lvl="0"/>
            <a:r>
              <a:rPr lang="ru-RU" dirty="0"/>
              <a:t>Образец стиля текста</a:t>
            </a:r>
            <a:endParaRPr lang="en-US" dirty="0"/>
          </a:p>
          <a:p>
            <a:pPr lvl="1"/>
            <a:r>
              <a:rPr lang="ru-RU" dirty="0"/>
              <a:t>Образец стиля текста второго уровня</a:t>
            </a:r>
            <a:endParaRPr lang="en-US" dirty="0"/>
          </a:p>
          <a:p>
            <a:pPr lvl="2"/>
            <a:r>
              <a:rPr lang="ru-RU" dirty="0"/>
              <a:t>Образец стиля текста третьего уровня</a:t>
            </a:r>
            <a:endParaRPr lang="en-US" dirty="0"/>
          </a:p>
          <a:p>
            <a:pPr lvl="3"/>
            <a:r>
              <a:rPr lang="ru-RU" dirty="0"/>
              <a:t>Образец стиля текста четвёртого уровня</a:t>
            </a:r>
            <a:endParaRPr lang="en-US" dirty="0"/>
          </a:p>
          <a:p>
            <a:pPr marL="1884633" marR="0" lvl="4" indent="-384484" algn="l" defTabSz="1280128" rtl="0" eaLnBrk="1" fontAlgn="auto" latinLnBrk="0" hangingPunct="1">
              <a:lnSpc>
                <a:spcPct val="100000"/>
              </a:lnSpc>
              <a:spcBef>
                <a:spcPts val="112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Образец стиля текста пятого уровн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6.11.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2508147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and Content with Subheading" preserve="1" userDrawn="1">
  <p:cSld name="titles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771212" y="2078043"/>
            <a:ext cx="15526385" cy="806074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2520" b="1"/>
            </a:lvl1pPr>
            <a:lvl2pPr marL="640064" indent="0">
              <a:buNone/>
              <a:defRPr sz="2800" b="1"/>
            </a:lvl2pPr>
            <a:lvl3pPr marL="1280128" indent="0">
              <a:buNone/>
              <a:defRPr sz="2520" b="1"/>
            </a:lvl3pPr>
            <a:lvl4pPr marL="1920192" indent="0">
              <a:buNone/>
              <a:defRPr sz="2240" b="1"/>
            </a:lvl4pPr>
            <a:lvl5pPr marL="2560256" indent="0">
              <a:buNone/>
              <a:defRPr sz="2240" b="1"/>
            </a:lvl5pPr>
            <a:lvl6pPr marL="3200320" indent="0">
              <a:buNone/>
              <a:defRPr sz="2240" b="1"/>
            </a:lvl6pPr>
            <a:lvl7pPr marL="3840384" indent="0">
              <a:buNone/>
              <a:defRPr sz="2240" b="1"/>
            </a:lvl7pPr>
            <a:lvl8pPr marL="4480448" indent="0">
              <a:buNone/>
              <a:defRPr sz="2240" b="1"/>
            </a:lvl8pPr>
            <a:lvl9pPr marL="5120512" indent="0">
              <a:buNone/>
              <a:defRPr sz="2240" b="1"/>
            </a:lvl9pPr>
          </a:lstStyle>
          <a:p>
            <a:pPr lvl="0"/>
            <a:r>
              <a:rPr lang="ru-RU" dirty="0"/>
              <a:t>Образец стиля текста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771212" y="2885189"/>
            <a:ext cx="15526385" cy="5644766"/>
          </a:xfrm>
        </p:spPr>
        <p:txBody>
          <a:bodyPr/>
          <a:lstStyle>
            <a:lvl1pPr>
              <a:defRPr baseline="0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Образец стиля текста</a:t>
            </a:r>
            <a:endParaRPr lang="en-US" dirty="0"/>
          </a:p>
          <a:p>
            <a:pPr lvl="1"/>
            <a:r>
              <a:rPr lang="ru-RU" dirty="0"/>
              <a:t>Образец стиля текста второго уровня</a:t>
            </a:r>
            <a:endParaRPr lang="en-US" dirty="0"/>
          </a:p>
          <a:p>
            <a:pPr lvl="2"/>
            <a:r>
              <a:rPr lang="ru-RU" dirty="0"/>
              <a:t>Образец стиля текста третьего уровня</a:t>
            </a:r>
            <a:endParaRPr lang="en-US" dirty="0"/>
          </a:p>
          <a:p>
            <a:pPr lvl="3"/>
            <a:r>
              <a:rPr lang="ru-RU" dirty="0"/>
              <a:t>Образец стиля текста четвёртого уровня</a:t>
            </a:r>
            <a:endParaRPr lang="en-US" dirty="0"/>
          </a:p>
          <a:p>
            <a:pPr lvl="4"/>
            <a:r>
              <a:rPr lang="ru-RU" dirty="0"/>
              <a:t>Образец стиля текста пятого уровня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6.11.2016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Заголовок слайда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2113533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wo Contents" preserve="1" userDrawn="1">
  <p:cSld name="two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71218" y="2078041"/>
            <a:ext cx="7561569" cy="645191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ru-RU" dirty="0"/>
              <a:t>Образец стиля текста</a:t>
            </a:r>
            <a:endParaRPr lang="en-US" dirty="0"/>
          </a:p>
          <a:p>
            <a:pPr lvl="1"/>
            <a:r>
              <a:rPr lang="ru-RU" dirty="0"/>
              <a:t>Образец стиля текста второго уровня</a:t>
            </a:r>
            <a:endParaRPr lang="en-US" dirty="0"/>
          </a:p>
          <a:p>
            <a:pPr lvl="2"/>
            <a:r>
              <a:rPr lang="ru-RU" dirty="0"/>
              <a:t>Образец стиля текста третьего уровня</a:t>
            </a:r>
            <a:endParaRPr lang="en-US" dirty="0"/>
          </a:p>
          <a:p>
            <a:pPr lvl="3"/>
            <a:r>
              <a:rPr lang="ru-RU" dirty="0"/>
              <a:t>Образец стиля текста четвёртого уровня</a:t>
            </a:r>
            <a:endParaRPr lang="en-US" dirty="0"/>
          </a:p>
          <a:p>
            <a:pPr lvl="4"/>
            <a:r>
              <a:rPr lang="ru-RU" dirty="0"/>
              <a:t>Образец стиля текста пятого уровня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736023" y="2078041"/>
            <a:ext cx="7561572" cy="645191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/>
              <a:t>Образец стиля текста</a:t>
            </a:r>
            <a:endParaRPr lang="en-US" dirty="0"/>
          </a:p>
          <a:p>
            <a:pPr lvl="1"/>
            <a:r>
              <a:rPr lang="ru-RU" dirty="0"/>
              <a:t>Образец стиля текста второго уровня</a:t>
            </a:r>
            <a:endParaRPr lang="en-US" dirty="0"/>
          </a:p>
          <a:p>
            <a:pPr lvl="2"/>
            <a:r>
              <a:rPr lang="ru-RU" dirty="0"/>
              <a:t>Образец стиля текста третьего уровня</a:t>
            </a:r>
            <a:endParaRPr lang="en-US" dirty="0"/>
          </a:p>
          <a:p>
            <a:pPr lvl="3"/>
            <a:r>
              <a:rPr lang="ru-RU" dirty="0"/>
              <a:t>Образец стиля текста четвёртого уровня</a:t>
            </a:r>
            <a:endParaRPr lang="en-US" dirty="0"/>
          </a:p>
          <a:p>
            <a:pPr lvl="4"/>
            <a:r>
              <a:rPr lang="ru-RU" dirty="0"/>
              <a:t>Образец стиля текста пятого уровня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6.11.2016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8534400" y="2078041"/>
            <a:ext cx="0" cy="6451917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Заголовок слайда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73306027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mparison" preserve="1" userDrawn="1">
  <p:cSld name="comparison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771211" y="2078043"/>
            <a:ext cx="7561572" cy="806074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2520" b="1" baseline="0"/>
            </a:lvl1pPr>
            <a:lvl2pPr marL="640064" indent="0">
              <a:buNone/>
              <a:defRPr sz="2800" b="1"/>
            </a:lvl2pPr>
            <a:lvl3pPr marL="1280128" indent="0">
              <a:buNone/>
              <a:defRPr sz="2520" b="1"/>
            </a:lvl3pPr>
            <a:lvl4pPr marL="1920192" indent="0">
              <a:buNone/>
              <a:defRPr sz="2240" b="1"/>
            </a:lvl4pPr>
            <a:lvl5pPr marL="2560256" indent="0">
              <a:buNone/>
              <a:defRPr sz="2240" b="1"/>
            </a:lvl5pPr>
            <a:lvl6pPr marL="3200320" indent="0">
              <a:buNone/>
              <a:defRPr sz="2240" b="1"/>
            </a:lvl6pPr>
            <a:lvl7pPr marL="3840384" indent="0">
              <a:buNone/>
              <a:defRPr sz="2240" b="1"/>
            </a:lvl7pPr>
            <a:lvl8pPr marL="4480448" indent="0">
              <a:buNone/>
              <a:defRPr sz="2240" b="1"/>
            </a:lvl8pPr>
            <a:lvl9pPr marL="5120512" indent="0">
              <a:buNone/>
              <a:defRPr sz="2240" b="1"/>
            </a:lvl9pPr>
          </a:lstStyle>
          <a:p>
            <a:pPr lvl="0"/>
            <a:r>
              <a:rPr lang="ru-RU" dirty="0"/>
              <a:t>Образец стиля текста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771211" y="2885189"/>
            <a:ext cx="7561572" cy="5644766"/>
          </a:xfrm>
        </p:spPr>
        <p:txBody>
          <a:bodyPr/>
          <a:lstStyle/>
          <a:p>
            <a:pPr lvl="0"/>
            <a:r>
              <a:rPr lang="ru-RU" dirty="0"/>
              <a:t>Образец стиля текста</a:t>
            </a:r>
            <a:endParaRPr lang="en-US" dirty="0"/>
          </a:p>
          <a:p>
            <a:pPr lvl="1"/>
            <a:r>
              <a:rPr lang="ru-RU" dirty="0"/>
              <a:t>Образец стиля текста второго уровня</a:t>
            </a:r>
            <a:endParaRPr lang="en-US" dirty="0"/>
          </a:p>
          <a:p>
            <a:pPr lvl="2"/>
            <a:r>
              <a:rPr lang="ru-RU" dirty="0"/>
              <a:t>Образец стиля текста третьего уровня</a:t>
            </a:r>
            <a:endParaRPr lang="en-US" dirty="0"/>
          </a:p>
          <a:p>
            <a:pPr lvl="3"/>
            <a:r>
              <a:rPr lang="ru-RU" dirty="0"/>
              <a:t>Образец стиля текста четвёртого уровня</a:t>
            </a:r>
            <a:endParaRPr lang="en-US" dirty="0"/>
          </a:p>
          <a:p>
            <a:pPr lvl="4"/>
            <a:r>
              <a:rPr lang="ru-RU" dirty="0"/>
              <a:t>Образец стиля текста пятого уровня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8736023" y="2078043"/>
            <a:ext cx="7561572" cy="806074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2520" b="1"/>
            </a:lvl1pPr>
            <a:lvl2pPr marL="640064" indent="0">
              <a:buNone/>
              <a:defRPr sz="2800" b="1"/>
            </a:lvl2pPr>
            <a:lvl3pPr marL="1280128" indent="0">
              <a:buNone/>
              <a:defRPr sz="2520" b="1"/>
            </a:lvl3pPr>
            <a:lvl4pPr marL="1920192" indent="0">
              <a:buNone/>
              <a:defRPr sz="2240" b="1"/>
            </a:lvl4pPr>
            <a:lvl5pPr marL="2560256" indent="0">
              <a:buNone/>
              <a:defRPr sz="2240" b="1"/>
            </a:lvl5pPr>
            <a:lvl6pPr marL="3200320" indent="0">
              <a:buNone/>
              <a:defRPr sz="2240" b="1"/>
            </a:lvl6pPr>
            <a:lvl7pPr marL="3840384" indent="0">
              <a:buNone/>
              <a:defRPr sz="2240" b="1"/>
            </a:lvl7pPr>
            <a:lvl8pPr marL="4480448" indent="0">
              <a:buNone/>
              <a:defRPr sz="2240" b="1"/>
            </a:lvl8pPr>
            <a:lvl9pPr marL="5120512" indent="0">
              <a:buNone/>
              <a:defRPr sz="2240" b="1"/>
            </a:lvl9pPr>
          </a:lstStyle>
          <a:p>
            <a:pPr lvl="0"/>
            <a:r>
              <a:rPr lang="ru-RU" dirty="0"/>
              <a:t>Образец стиля текста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8736023" y="2885193"/>
            <a:ext cx="7561572" cy="5644768"/>
          </a:xfrm>
        </p:spPr>
        <p:txBody>
          <a:bodyPr/>
          <a:lstStyle/>
          <a:p>
            <a:pPr lvl="0"/>
            <a:r>
              <a:rPr lang="ru-RU" dirty="0"/>
              <a:t>Образец стиля текста</a:t>
            </a:r>
            <a:endParaRPr lang="en-US" dirty="0"/>
          </a:p>
          <a:p>
            <a:pPr lvl="1"/>
            <a:r>
              <a:rPr lang="ru-RU" dirty="0"/>
              <a:t>Образец стиля текста второго уровня</a:t>
            </a:r>
            <a:endParaRPr lang="en-US" dirty="0"/>
          </a:p>
          <a:p>
            <a:pPr lvl="2"/>
            <a:r>
              <a:rPr lang="ru-RU" dirty="0"/>
              <a:t>Образец стиля текста третьего уровня</a:t>
            </a:r>
            <a:endParaRPr lang="en-US" dirty="0"/>
          </a:p>
          <a:p>
            <a:pPr lvl="3"/>
            <a:r>
              <a:rPr lang="ru-RU" dirty="0"/>
              <a:t>Образец стиля текста четвёртого уровня</a:t>
            </a:r>
            <a:endParaRPr lang="en-US" dirty="0"/>
          </a:p>
          <a:p>
            <a:pPr lvl="4"/>
            <a:r>
              <a:rPr lang="ru-RU" dirty="0"/>
              <a:t>Образец стиля текста пятого уровня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6.11.2016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8534400" y="2078041"/>
            <a:ext cx="0" cy="6451917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Заголовок слайда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97474323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hree columns" preserve="1" userDrawn="1">
  <p:cSld name="three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771214" y="2078043"/>
            <a:ext cx="4940479" cy="806074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2520" b="1"/>
            </a:lvl1pPr>
            <a:lvl2pPr marL="640064" indent="0">
              <a:buNone/>
              <a:defRPr sz="2800" b="1"/>
            </a:lvl2pPr>
            <a:lvl3pPr marL="1280128" indent="0">
              <a:buNone/>
              <a:defRPr sz="2520" b="1"/>
            </a:lvl3pPr>
            <a:lvl4pPr marL="1920192" indent="0">
              <a:buNone/>
              <a:defRPr sz="2240" b="1"/>
            </a:lvl4pPr>
            <a:lvl5pPr marL="2560256" indent="0">
              <a:buNone/>
              <a:defRPr sz="2240" b="1"/>
            </a:lvl5pPr>
            <a:lvl6pPr marL="3200320" indent="0">
              <a:buNone/>
              <a:defRPr sz="2240" b="1"/>
            </a:lvl6pPr>
            <a:lvl7pPr marL="3840384" indent="0">
              <a:buNone/>
              <a:defRPr sz="2240" b="1"/>
            </a:lvl7pPr>
            <a:lvl8pPr marL="4480448" indent="0">
              <a:buNone/>
              <a:defRPr sz="2240" b="1"/>
            </a:lvl8pPr>
            <a:lvl9pPr marL="5120512" indent="0">
              <a:buNone/>
              <a:defRPr sz="2240" b="1"/>
            </a:lvl9pPr>
          </a:lstStyle>
          <a:p>
            <a:pPr lvl="0"/>
            <a:r>
              <a:rPr lang="ru-RU" dirty="0"/>
              <a:t>Образец стиля текста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771214" y="2884813"/>
            <a:ext cx="4940479" cy="5645149"/>
          </a:xfrm>
        </p:spPr>
        <p:txBody>
          <a:bodyPr/>
          <a:lstStyle/>
          <a:p>
            <a:pPr lvl="0"/>
            <a:r>
              <a:rPr lang="ru-RU" dirty="0"/>
              <a:t>Образец стиля текста</a:t>
            </a:r>
            <a:endParaRPr lang="en-US" dirty="0"/>
          </a:p>
          <a:p>
            <a:pPr lvl="1"/>
            <a:r>
              <a:rPr lang="ru-RU" dirty="0"/>
              <a:t>Образец стиля текста второго уровня</a:t>
            </a:r>
            <a:endParaRPr lang="en-US" dirty="0"/>
          </a:p>
          <a:p>
            <a:pPr lvl="2"/>
            <a:r>
              <a:rPr lang="ru-RU" dirty="0"/>
              <a:t>Образец стиля текста третьего уровня</a:t>
            </a:r>
            <a:endParaRPr lang="en-US" dirty="0"/>
          </a:p>
          <a:p>
            <a:pPr lvl="3"/>
            <a:r>
              <a:rPr lang="ru-RU" dirty="0"/>
              <a:t>Образец стиля текста четвёртого уровня</a:t>
            </a:r>
            <a:endParaRPr lang="en-US" dirty="0"/>
          </a:p>
          <a:p>
            <a:pPr lvl="4"/>
            <a:r>
              <a:rPr lang="ru-RU" dirty="0"/>
              <a:t>Образец стиля текста пятого уровня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11357118" y="2078043"/>
            <a:ext cx="4940481" cy="806074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2520" b="1"/>
            </a:lvl1pPr>
            <a:lvl2pPr marL="640064" indent="0">
              <a:buNone/>
              <a:defRPr sz="2800" b="1"/>
            </a:lvl2pPr>
            <a:lvl3pPr marL="1280128" indent="0">
              <a:buNone/>
              <a:defRPr sz="2520" b="1"/>
            </a:lvl3pPr>
            <a:lvl4pPr marL="1920192" indent="0">
              <a:buNone/>
              <a:defRPr sz="2240" b="1"/>
            </a:lvl4pPr>
            <a:lvl5pPr marL="2560256" indent="0">
              <a:buNone/>
              <a:defRPr sz="2240" b="1"/>
            </a:lvl5pPr>
            <a:lvl6pPr marL="3200320" indent="0">
              <a:buNone/>
              <a:defRPr sz="2240" b="1"/>
            </a:lvl6pPr>
            <a:lvl7pPr marL="3840384" indent="0">
              <a:buNone/>
              <a:defRPr sz="2240" b="1"/>
            </a:lvl7pPr>
            <a:lvl8pPr marL="4480448" indent="0">
              <a:buNone/>
              <a:defRPr sz="2240" b="1"/>
            </a:lvl8pPr>
            <a:lvl9pPr marL="5120512" indent="0">
              <a:buNone/>
              <a:defRPr sz="2240" b="1"/>
            </a:lvl9pPr>
          </a:lstStyle>
          <a:p>
            <a:pPr lvl="0"/>
            <a:r>
              <a:rPr lang="ru-RU" dirty="0"/>
              <a:t>Образец стиля текста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11357118" y="2884813"/>
            <a:ext cx="4940481" cy="5645149"/>
          </a:xfrm>
        </p:spPr>
        <p:txBody>
          <a:bodyPr/>
          <a:lstStyle/>
          <a:p>
            <a:pPr lvl="0"/>
            <a:r>
              <a:rPr lang="ru-RU" dirty="0"/>
              <a:t>Образец стиля текста</a:t>
            </a:r>
            <a:endParaRPr lang="en-US" dirty="0"/>
          </a:p>
          <a:p>
            <a:pPr lvl="1"/>
            <a:r>
              <a:rPr lang="ru-RU" dirty="0"/>
              <a:t>Образец стиля текста второго уровня</a:t>
            </a:r>
            <a:endParaRPr lang="en-US" dirty="0"/>
          </a:p>
          <a:p>
            <a:pPr lvl="2"/>
            <a:r>
              <a:rPr lang="ru-RU" dirty="0"/>
              <a:t>Образец стиля текста третьего уровня</a:t>
            </a:r>
            <a:endParaRPr lang="en-US" dirty="0"/>
          </a:p>
          <a:p>
            <a:pPr lvl="3"/>
            <a:r>
              <a:rPr lang="ru-RU" dirty="0"/>
              <a:t>Образец стиля текста четвёртого уровня</a:t>
            </a:r>
            <a:endParaRPr lang="en-US" dirty="0"/>
          </a:p>
          <a:p>
            <a:pPr lvl="4"/>
            <a:r>
              <a:rPr lang="ru-RU" dirty="0"/>
              <a:t>Образец стиля текста пятого уровня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6.11.2016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6114934" y="2078043"/>
            <a:ext cx="4838937" cy="806074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2520" b="1"/>
            </a:lvl1pPr>
            <a:lvl2pPr marL="640064" indent="0">
              <a:buNone/>
              <a:defRPr sz="2800" b="1"/>
            </a:lvl2pPr>
            <a:lvl3pPr marL="1280128" indent="0">
              <a:buNone/>
              <a:defRPr sz="2520" b="1"/>
            </a:lvl3pPr>
            <a:lvl4pPr marL="1920192" indent="0">
              <a:buNone/>
              <a:defRPr sz="2240" b="1"/>
            </a:lvl4pPr>
            <a:lvl5pPr marL="2560256" indent="0">
              <a:buNone/>
              <a:defRPr sz="2240" b="1"/>
            </a:lvl5pPr>
            <a:lvl6pPr marL="3200320" indent="0">
              <a:buNone/>
              <a:defRPr sz="2240" b="1"/>
            </a:lvl6pPr>
            <a:lvl7pPr marL="3840384" indent="0">
              <a:buNone/>
              <a:defRPr sz="2240" b="1"/>
            </a:lvl7pPr>
            <a:lvl8pPr marL="4480448" indent="0">
              <a:buNone/>
              <a:defRPr sz="2240" b="1"/>
            </a:lvl8pPr>
            <a:lvl9pPr marL="5120512" indent="0">
              <a:buNone/>
              <a:defRPr sz="2240" b="1"/>
            </a:lvl9pPr>
          </a:lstStyle>
          <a:p>
            <a:pPr lvl="0"/>
            <a:r>
              <a:rPr lang="ru-RU" dirty="0"/>
              <a:t>Образец стиля текста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half" idx="14" hasCustomPrompt="1"/>
          </p:nvPr>
        </p:nvSpPr>
        <p:spPr>
          <a:xfrm>
            <a:off x="6114934" y="2884813"/>
            <a:ext cx="4838937" cy="5645149"/>
          </a:xfrm>
        </p:spPr>
        <p:txBody>
          <a:bodyPr/>
          <a:lstStyle/>
          <a:p>
            <a:pPr lvl="0"/>
            <a:r>
              <a:rPr lang="ru-RU" dirty="0"/>
              <a:t>Образец стиля текста</a:t>
            </a:r>
            <a:endParaRPr lang="en-US" dirty="0"/>
          </a:p>
          <a:p>
            <a:pPr lvl="1"/>
            <a:r>
              <a:rPr lang="ru-RU" dirty="0"/>
              <a:t>Образец стиля текста второго уровня</a:t>
            </a:r>
            <a:endParaRPr lang="en-US" dirty="0"/>
          </a:p>
          <a:p>
            <a:pPr lvl="2"/>
            <a:r>
              <a:rPr lang="ru-RU" dirty="0"/>
              <a:t>Образец стиля текста третьего уровня</a:t>
            </a:r>
            <a:endParaRPr lang="en-US" dirty="0"/>
          </a:p>
          <a:p>
            <a:pPr lvl="3"/>
            <a:r>
              <a:rPr lang="ru-RU" dirty="0"/>
              <a:t>Образец стиля текста четвёртого уровня</a:t>
            </a:r>
            <a:endParaRPr lang="en-US" dirty="0"/>
          </a:p>
          <a:p>
            <a:pPr lvl="4"/>
            <a:r>
              <a:rPr lang="ru-RU" dirty="0"/>
              <a:t>Образец стиля текста пятого уровня</a:t>
            </a:r>
            <a:endParaRPr lang="en-US" dirty="0"/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5913309" y="2078041"/>
            <a:ext cx="0" cy="6451917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11155491" y="2078041"/>
            <a:ext cx="0" cy="6451917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Заголовок слайда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74768133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and Picture 1/2" preserve="1" userDrawn="1">
  <p:cSld name="title_and_picture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71218" y="2078041"/>
            <a:ext cx="7561569" cy="6451917"/>
          </a:xfrm>
        </p:spPr>
        <p:txBody>
          <a:bodyPr/>
          <a:lstStyle/>
          <a:p>
            <a:pPr lvl="0"/>
            <a:r>
              <a:rPr lang="ru-RU" dirty="0"/>
              <a:t>Образец стиля текста</a:t>
            </a:r>
            <a:endParaRPr lang="en-US" dirty="0"/>
          </a:p>
          <a:p>
            <a:pPr lvl="1"/>
            <a:r>
              <a:rPr lang="ru-RU" dirty="0"/>
              <a:t>Образец стиля текста второго уровня</a:t>
            </a:r>
            <a:endParaRPr lang="en-US" dirty="0"/>
          </a:p>
          <a:p>
            <a:pPr lvl="2"/>
            <a:r>
              <a:rPr lang="ru-RU" dirty="0"/>
              <a:t>Образец стиля текста третьего уровня</a:t>
            </a:r>
            <a:endParaRPr lang="en-US" dirty="0"/>
          </a:p>
          <a:p>
            <a:pPr lvl="3"/>
            <a:r>
              <a:rPr lang="ru-RU" dirty="0"/>
              <a:t>Образец стиля текста четвёртого уровня</a:t>
            </a:r>
            <a:endParaRPr lang="en-US" dirty="0"/>
          </a:p>
          <a:p>
            <a:pPr lvl="4"/>
            <a:r>
              <a:rPr lang="ru-RU" dirty="0"/>
              <a:t>Образец стиля текста пятого уровн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6.11.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8736029" y="12"/>
            <a:ext cx="8332777" cy="8529955"/>
          </a:xfrm>
          <a:solidFill>
            <a:srgbClr val="EAEAEA"/>
          </a:solidFill>
        </p:spPr>
        <p:txBody>
          <a:bodyPr/>
          <a:lstStyle>
            <a:lvl1pPr marL="0" indent="0">
              <a:buFontTx/>
              <a:buNone/>
              <a:defRPr sz="252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Вставка рисунка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771218" y="666753"/>
            <a:ext cx="7561569" cy="1008703"/>
          </a:xfrm>
        </p:spPr>
        <p:txBody>
          <a:bodyPr/>
          <a:lstStyle/>
          <a:p>
            <a:r>
              <a:rPr lang="ru-RU" dirty="0"/>
              <a:t>Заголовок слайда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929564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71213" y="666753"/>
            <a:ext cx="15526385" cy="10087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ru-RU" dirty="0"/>
              <a:t>Образец заголовка слайд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71213" y="2078051"/>
            <a:ext cx="15526385" cy="645191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ru-RU" dirty="0"/>
              <a:t>Образец стиля текста</a:t>
            </a:r>
            <a:endParaRPr lang="en-US" dirty="0"/>
          </a:p>
          <a:p>
            <a:pPr lvl="1"/>
            <a:r>
              <a:rPr lang="ru-RU" dirty="0"/>
              <a:t>Образец текста второго уровня</a:t>
            </a:r>
            <a:endParaRPr lang="en-US" dirty="0"/>
          </a:p>
          <a:p>
            <a:pPr lvl="2"/>
            <a:r>
              <a:rPr lang="ru-RU" dirty="0"/>
              <a:t>Образец текста третьего уровня</a:t>
            </a:r>
            <a:endParaRPr lang="en-US" dirty="0"/>
          </a:p>
          <a:p>
            <a:pPr lvl="3"/>
            <a:r>
              <a:rPr lang="ru-RU" dirty="0"/>
              <a:t>Образец текста четвёртого уровня</a:t>
            </a:r>
            <a:endParaRPr lang="en-US" dirty="0"/>
          </a:p>
          <a:p>
            <a:pPr lvl="4"/>
            <a:r>
              <a:rPr lang="ru-RU" dirty="0"/>
              <a:t>Образец текста пятого уровн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174979" y="8883336"/>
            <a:ext cx="2016536" cy="353377"/>
          </a:xfrm>
          <a:prstGeom prst="rect">
            <a:avLst/>
          </a:prstGeom>
        </p:spPr>
        <p:txBody>
          <a:bodyPr vert="horz" lIns="72000" tIns="0" rIns="72000" bIns="0" rtlCol="0" anchor="ctr" anchorCtr="0">
            <a:noAutofit/>
          </a:bodyPr>
          <a:lstStyle>
            <a:lvl1pPr algn="l">
              <a:defRPr sz="1260" b="0">
                <a:solidFill>
                  <a:schemeClr val="tx1"/>
                </a:solidFill>
              </a:defRPr>
            </a:lvl1pPr>
          </a:lstStyle>
          <a:p>
            <a:r>
              <a:rPr lang="en-US"/>
              <a:t>16.11.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91517" y="8883336"/>
            <a:ext cx="10483535" cy="353377"/>
          </a:xfrm>
          <a:prstGeom prst="rect">
            <a:avLst/>
          </a:prstGeom>
        </p:spPr>
        <p:txBody>
          <a:bodyPr vert="horz" lIns="72000" tIns="0" rIns="72000" bIns="0" rtlCol="0" anchor="ctr" anchorCtr="0">
            <a:noAutofit/>
          </a:bodyPr>
          <a:lstStyle>
            <a:lvl1pPr algn="l">
              <a:defRPr sz="1260" b="0">
                <a:solidFill>
                  <a:schemeClr val="tx1"/>
                </a:solidFill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71216" y="8883342"/>
            <a:ext cx="403769" cy="352925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>
            <a:lvl1pPr algn="l">
              <a:defRPr sz="1260" b="0">
                <a:solidFill>
                  <a:schemeClr val="tx1"/>
                </a:solidFill>
              </a:defRPr>
            </a:lvl1pPr>
          </a:lstStyle>
          <a:p>
            <a:fld id="{F90E5A77-D385-4CDE-8FE8-D3E3CBE93E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(c)" hidden="1"/>
          <p:cNvSpPr txBox="1"/>
          <p:nvPr userDrawn="1"/>
        </p:nvSpPr>
        <p:spPr>
          <a:xfrm>
            <a:off x="16788503" y="9639676"/>
            <a:ext cx="270908" cy="4308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fi-FI" sz="280" dirty="0">
                <a:solidFill>
                  <a:schemeClr val="bg1"/>
                </a:solidFill>
              </a:rPr>
              <a:t>©grow. for</a:t>
            </a:r>
            <a:r>
              <a:rPr lang="fi-FI" sz="280" baseline="0" dirty="0">
                <a:solidFill>
                  <a:schemeClr val="bg1"/>
                </a:solidFill>
              </a:rPr>
              <a:t> fortum</a:t>
            </a:r>
            <a:endParaRPr lang="en-GB" sz="280" dirty="0" err="1">
              <a:solidFill>
                <a:schemeClr val="bg1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84695" y="8879807"/>
            <a:ext cx="1512000" cy="372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89612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6" r:id="rId2"/>
    <p:sldLayoutId id="2147483670" r:id="rId3"/>
    <p:sldLayoutId id="2147483650" r:id="rId4"/>
    <p:sldLayoutId id="2147483672" r:id="rId5"/>
    <p:sldLayoutId id="2147483652" r:id="rId6"/>
    <p:sldLayoutId id="2147483653" r:id="rId7"/>
    <p:sldLayoutId id="2147483661" r:id="rId8"/>
    <p:sldLayoutId id="2147483662" r:id="rId9"/>
    <p:sldLayoutId id="2147483663" r:id="rId10"/>
    <p:sldLayoutId id="2147483668" r:id="rId11"/>
    <p:sldLayoutId id="2147483654" r:id="rId12"/>
    <p:sldLayoutId id="2147483655" r:id="rId13"/>
    <p:sldLayoutId id="2147483659" r:id="rId14"/>
    <p:sldLayoutId id="2147483711" r:id="rId15"/>
  </p:sldLayoutIdLst>
  <p:hf hdr="0" ftr="0" dt="0"/>
  <p:txStyles>
    <p:titleStyle>
      <a:lvl1pPr algn="l" defTabSz="1280128" rtl="0" eaLnBrk="1" latinLnBrk="0" hangingPunct="1">
        <a:lnSpc>
          <a:spcPct val="85000"/>
        </a:lnSpc>
        <a:spcBef>
          <a:spcPct val="0"/>
        </a:spcBef>
        <a:buNone/>
        <a:defRPr sz="392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373371" indent="-373371" algn="l" defTabSz="1280128" rtl="0" eaLnBrk="1" latinLnBrk="0" hangingPunct="1">
        <a:lnSpc>
          <a:spcPct val="100000"/>
        </a:lnSpc>
        <a:spcBef>
          <a:spcPts val="1120"/>
        </a:spcBef>
        <a:buClr>
          <a:schemeClr val="accent2"/>
        </a:buClr>
        <a:buFont typeface="Arial" panose="020B0604020202020204" pitchFamily="34" charset="0"/>
        <a:buChar char="•"/>
        <a:defRPr sz="2800" kern="1200">
          <a:solidFill>
            <a:srgbClr val="000000"/>
          </a:solidFill>
          <a:latin typeface="+mn-lt"/>
          <a:ea typeface="+mn-ea"/>
          <a:cs typeface="+mn-cs"/>
        </a:defRPr>
      </a:lvl1pPr>
      <a:lvl2pPr marL="755632" indent="-382261" algn="l" defTabSz="1280128" rtl="0" eaLnBrk="1" latinLnBrk="0" hangingPunct="1">
        <a:lnSpc>
          <a:spcPct val="100000"/>
        </a:lnSpc>
        <a:spcBef>
          <a:spcPts val="1120"/>
        </a:spcBef>
        <a:buClr>
          <a:schemeClr val="accent2"/>
        </a:buClr>
        <a:buFont typeface="Arial" panose="020B0604020202020204" pitchFamily="34" charset="0"/>
        <a:buChar char="–"/>
        <a:defRPr sz="2520" kern="1200" baseline="0">
          <a:solidFill>
            <a:srgbClr val="000000"/>
          </a:solidFill>
          <a:latin typeface="+mn-lt"/>
          <a:ea typeface="+mn-ea"/>
          <a:cs typeface="+mn-cs"/>
        </a:defRPr>
      </a:lvl2pPr>
      <a:lvl3pPr marL="1129002" indent="-373371" algn="l" defTabSz="1280128" rtl="0" eaLnBrk="1" latinLnBrk="0" hangingPunct="1">
        <a:lnSpc>
          <a:spcPct val="100000"/>
        </a:lnSpc>
        <a:spcBef>
          <a:spcPts val="1120"/>
        </a:spcBef>
        <a:buClr>
          <a:schemeClr val="accent2"/>
        </a:buClr>
        <a:buFont typeface="Arial" panose="020B0604020202020204" pitchFamily="34" charset="0"/>
        <a:buChar char="•"/>
        <a:defRPr sz="2240" kern="1200">
          <a:solidFill>
            <a:srgbClr val="000000"/>
          </a:solidFill>
          <a:latin typeface="+mn-lt"/>
          <a:ea typeface="+mn-ea"/>
          <a:cs typeface="+mn-cs"/>
        </a:defRPr>
      </a:lvl3pPr>
      <a:lvl4pPr marL="1500150" indent="-371149" algn="l" defTabSz="1280128" rtl="0" eaLnBrk="1" latinLnBrk="0" hangingPunct="1">
        <a:lnSpc>
          <a:spcPct val="100000"/>
        </a:lnSpc>
        <a:spcBef>
          <a:spcPts val="1120"/>
        </a:spcBef>
        <a:buClr>
          <a:schemeClr val="accent2"/>
        </a:buClr>
        <a:buFont typeface="Arial" panose="020B0604020202020204" pitchFamily="34" charset="0"/>
        <a:buChar char="–"/>
        <a:defRPr sz="1960" kern="1200">
          <a:solidFill>
            <a:srgbClr val="000000"/>
          </a:solidFill>
          <a:latin typeface="+mn-lt"/>
          <a:ea typeface="+mn-ea"/>
          <a:cs typeface="+mn-cs"/>
        </a:defRPr>
      </a:lvl4pPr>
      <a:lvl5pPr marL="1884633" indent="-384484" algn="l" defTabSz="1280128" rtl="0" eaLnBrk="1" latinLnBrk="0" hangingPunct="1">
        <a:lnSpc>
          <a:spcPct val="100000"/>
        </a:lnSpc>
        <a:spcBef>
          <a:spcPts val="1120"/>
        </a:spcBef>
        <a:buClr>
          <a:schemeClr val="accent2"/>
        </a:buClr>
        <a:buFont typeface="Arial" panose="020B0604020202020204" pitchFamily="34" charset="0"/>
        <a:buChar char="•"/>
        <a:defRPr sz="1960" kern="1200" baseline="0">
          <a:solidFill>
            <a:srgbClr val="000000"/>
          </a:solidFill>
          <a:latin typeface="+mn-lt"/>
          <a:ea typeface="+mn-ea"/>
          <a:cs typeface="+mn-cs"/>
        </a:defRPr>
      </a:lvl5pPr>
      <a:lvl6pPr marL="2258004" indent="-373371" algn="l" defTabSz="1280128" rtl="0" eaLnBrk="1" latinLnBrk="0" hangingPunct="1">
        <a:lnSpc>
          <a:spcPct val="100000"/>
        </a:lnSpc>
        <a:spcBef>
          <a:spcPts val="1120"/>
        </a:spcBef>
        <a:buClr>
          <a:schemeClr val="accent2"/>
        </a:buClr>
        <a:buFont typeface="Arial" panose="020B0604020202020204" pitchFamily="34" charset="0"/>
        <a:buChar char="–"/>
        <a:defRPr sz="1680" kern="1200">
          <a:solidFill>
            <a:srgbClr val="000000"/>
          </a:solidFill>
          <a:latin typeface="+mn-lt"/>
          <a:ea typeface="+mn-ea"/>
          <a:cs typeface="+mn-cs"/>
        </a:defRPr>
      </a:lvl6pPr>
      <a:lvl7pPr marL="2629153" indent="-371149" algn="l" defTabSz="1280128" rtl="0" eaLnBrk="1" latinLnBrk="0" hangingPunct="1">
        <a:lnSpc>
          <a:spcPct val="100000"/>
        </a:lnSpc>
        <a:spcBef>
          <a:spcPts val="1120"/>
        </a:spcBef>
        <a:buClr>
          <a:schemeClr val="accent2"/>
        </a:buClr>
        <a:buFont typeface="Arial" panose="020B0604020202020204" pitchFamily="34" charset="0"/>
        <a:buChar char="•"/>
        <a:defRPr sz="1680" kern="1200">
          <a:solidFill>
            <a:srgbClr val="000000"/>
          </a:solidFill>
          <a:latin typeface="+mn-lt"/>
          <a:ea typeface="+mn-ea"/>
          <a:cs typeface="+mn-cs"/>
        </a:defRPr>
      </a:lvl7pPr>
      <a:lvl8pPr marL="3013635" indent="-384484" algn="l" defTabSz="1280128" rtl="0" eaLnBrk="1" latinLnBrk="0" hangingPunct="1">
        <a:lnSpc>
          <a:spcPct val="100000"/>
        </a:lnSpc>
        <a:spcBef>
          <a:spcPts val="1120"/>
        </a:spcBef>
        <a:buClr>
          <a:schemeClr val="accent2"/>
        </a:buClr>
        <a:buFont typeface="Arial" panose="020B0604020202020204" pitchFamily="34" charset="0"/>
        <a:buChar char="–"/>
        <a:defRPr sz="1680" kern="1200">
          <a:solidFill>
            <a:srgbClr val="000000"/>
          </a:solidFill>
          <a:latin typeface="+mn-lt"/>
          <a:ea typeface="+mn-ea"/>
          <a:cs typeface="+mn-cs"/>
        </a:defRPr>
      </a:lvl8pPr>
      <a:lvl9pPr marL="3387006" indent="-373371" algn="l" defTabSz="1280128" rtl="0" eaLnBrk="1" latinLnBrk="0" hangingPunct="1">
        <a:lnSpc>
          <a:spcPct val="100000"/>
        </a:lnSpc>
        <a:spcBef>
          <a:spcPts val="1120"/>
        </a:spcBef>
        <a:buClr>
          <a:schemeClr val="accent2"/>
        </a:buClr>
        <a:buFont typeface="Arial" panose="020B0604020202020204" pitchFamily="34" charset="0"/>
        <a:buChar char="•"/>
        <a:defRPr sz="1680" kern="1200">
          <a:solidFill>
            <a:srgbClr val="000000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1280128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64" algn="l" defTabSz="1280128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28" algn="l" defTabSz="1280128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192" algn="l" defTabSz="1280128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256" algn="l" defTabSz="1280128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320" algn="l" defTabSz="1280128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384" algn="l" defTabSz="1280128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448" algn="l" defTabSz="1280128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512" algn="l" defTabSz="1280128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.png"/><Relationship Id="rId5" Type="http://schemas.openxmlformats.org/officeDocument/2006/relationships/image" Target="../media/image11.png"/><Relationship Id="rId4" Type="http://schemas.openxmlformats.org/officeDocument/2006/relationships/image" Target="../media/image38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image" Target="../media/image15.png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10" Type="http://schemas.openxmlformats.org/officeDocument/2006/relationships/image" Target="../media/image47.png"/><Relationship Id="rId4" Type="http://schemas.openxmlformats.org/officeDocument/2006/relationships/image" Target="../media/image16.png"/><Relationship Id="rId9" Type="http://schemas.openxmlformats.org/officeDocument/2006/relationships/image" Target="../media/image46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.jpeg"/><Relationship Id="rId11" Type="http://schemas.openxmlformats.org/officeDocument/2006/relationships/image" Target="../media/image13.png"/><Relationship Id="rId5" Type="http://schemas.openxmlformats.org/officeDocument/2006/relationships/image" Target="../media/image7.jpe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image" Target="../media/image15.png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20.png"/><Relationship Id="rId7" Type="http://schemas.openxmlformats.org/officeDocument/2006/relationships/image" Target="../media/image11.png"/><Relationship Id="rId12" Type="http://schemas.openxmlformats.org/officeDocument/2006/relationships/image" Target="../media/image26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.png"/><Relationship Id="rId11" Type="http://schemas.openxmlformats.org/officeDocument/2006/relationships/image" Target="../media/image25.jpg"/><Relationship Id="rId5" Type="http://schemas.openxmlformats.org/officeDocument/2006/relationships/image" Target="../media/image22.png"/><Relationship Id="rId10" Type="http://schemas.openxmlformats.org/officeDocument/2006/relationships/image" Target="../media/image24.png"/><Relationship Id="rId4" Type="http://schemas.openxmlformats.org/officeDocument/2006/relationships/image" Target="../media/image21.png"/><Relationship Id="rId9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30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9.jpeg"/><Relationship Id="rId5" Type="http://schemas.openxmlformats.org/officeDocument/2006/relationships/image" Target="../media/image28.jpeg"/><Relationship Id="rId4" Type="http://schemas.openxmlformats.org/officeDocument/2006/relationships/image" Target="../media/image27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2.xml"/><Relationship Id="rId7" Type="http://schemas.openxmlformats.org/officeDocument/2006/relationships/chart" Target="../charts/chart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1.emf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4.xml"/><Relationship Id="rId9" Type="http://schemas.openxmlformats.org/officeDocument/2006/relationships/chart" Target="../charts/char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33.png"/><Relationship Id="rId7" Type="http://schemas.openxmlformats.org/officeDocument/2006/relationships/chart" Target="../charts/chart4.xml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4.xml"/><Relationship Id="rId6" Type="http://schemas.openxmlformats.org/officeDocument/2006/relationships/chart" Target="../charts/chart3.xml"/><Relationship Id="rId5" Type="http://schemas.openxmlformats.org/officeDocument/2006/relationships/image" Target="../media/image5.png"/><Relationship Id="rId10" Type="http://schemas.openxmlformats.org/officeDocument/2006/relationships/image" Target="../media/image36.png"/><Relationship Id="rId4" Type="http://schemas.openxmlformats.org/officeDocument/2006/relationships/image" Target="../media/image11.png"/><Relationship Id="rId9" Type="http://schemas.openxmlformats.org/officeDocument/2006/relationships/image" Target="../media/image3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25" t="7281" b="32065"/>
          <a:stretch>
            <a:fillRect/>
          </a:stretch>
        </p:blipFill>
        <p:spPr bwMode="auto">
          <a:xfrm>
            <a:off x="0" y="-33690"/>
            <a:ext cx="12273280" cy="9634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" name="Рисунок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88720" y="432118"/>
            <a:ext cx="2726372" cy="9856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891"/>
          <a:stretch/>
        </p:blipFill>
        <p:spPr>
          <a:xfrm>
            <a:off x="-81245" y="2267504"/>
            <a:ext cx="4094411" cy="7709477"/>
          </a:xfrm>
          <a:prstGeom prst="rect">
            <a:avLst/>
          </a:prstGeom>
        </p:spPr>
      </p:pic>
      <p:sp>
        <p:nvSpPr>
          <p:cNvPr id="51" name="Подзаголовок 1"/>
          <p:cNvSpPr txBox="1">
            <a:spLocks/>
          </p:cNvSpPr>
          <p:nvPr/>
        </p:nvSpPr>
        <p:spPr>
          <a:xfrm>
            <a:off x="3393357" y="2455410"/>
            <a:ext cx="13083189" cy="3665331"/>
          </a:xfrm>
          <a:prstGeom prst="rect">
            <a:avLst/>
          </a:prstGeom>
        </p:spPr>
        <p:txBody>
          <a:bodyPr/>
          <a:lstStyle>
            <a:lvl1pPr marL="373371" indent="-373371" algn="l" defTabSz="1280128" rtl="0" eaLnBrk="1" latinLnBrk="0" hangingPunct="1">
              <a:lnSpc>
                <a:spcPct val="100000"/>
              </a:lnSpc>
              <a:spcBef>
                <a:spcPts val="112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28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55632" indent="-382261" algn="l" defTabSz="1280128" rtl="0" eaLnBrk="1" latinLnBrk="0" hangingPunct="1">
              <a:lnSpc>
                <a:spcPct val="100000"/>
              </a:lnSpc>
              <a:spcBef>
                <a:spcPts val="112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2520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29002" indent="-373371" algn="l" defTabSz="1280128" rtl="0" eaLnBrk="1" latinLnBrk="0" hangingPunct="1">
              <a:lnSpc>
                <a:spcPct val="100000"/>
              </a:lnSpc>
              <a:spcBef>
                <a:spcPts val="112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224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500150" indent="-371149" algn="l" defTabSz="1280128" rtl="0" eaLnBrk="1" latinLnBrk="0" hangingPunct="1">
              <a:lnSpc>
                <a:spcPct val="100000"/>
              </a:lnSpc>
              <a:spcBef>
                <a:spcPts val="112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196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84633" indent="-384484" algn="l" defTabSz="1280128" rtl="0" eaLnBrk="1" latinLnBrk="0" hangingPunct="1">
              <a:lnSpc>
                <a:spcPct val="100000"/>
              </a:lnSpc>
              <a:spcBef>
                <a:spcPts val="112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960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258004" indent="-373371" algn="l" defTabSz="1280128" rtl="0" eaLnBrk="1" latinLnBrk="0" hangingPunct="1">
              <a:lnSpc>
                <a:spcPct val="100000"/>
              </a:lnSpc>
              <a:spcBef>
                <a:spcPts val="112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168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2629153" indent="-371149" algn="l" defTabSz="1280128" rtl="0" eaLnBrk="1" latinLnBrk="0" hangingPunct="1">
              <a:lnSpc>
                <a:spcPct val="100000"/>
              </a:lnSpc>
              <a:spcBef>
                <a:spcPts val="112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8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013635" indent="-384484" algn="l" defTabSz="1280128" rtl="0" eaLnBrk="1" latinLnBrk="0" hangingPunct="1">
              <a:lnSpc>
                <a:spcPct val="100000"/>
              </a:lnSpc>
              <a:spcBef>
                <a:spcPts val="112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168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3387006" indent="-373371" algn="l" defTabSz="1280128" rtl="0" eaLnBrk="1" latinLnBrk="0" hangingPunct="1">
              <a:lnSpc>
                <a:spcPct val="100000"/>
              </a:lnSpc>
              <a:spcBef>
                <a:spcPts val="112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8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3600" b="1" dirty="0" smtClean="0">
                <a:solidFill>
                  <a:srgbClr val="EB6437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ИСПОЛНЕНИЕ ФЗ-261 «ОБ ЭНЕРГОСБЕРЕЖЕНИИ </a:t>
            </a:r>
            <a:r>
              <a:rPr lang="ru-RU" sz="3600" b="1" dirty="0">
                <a:solidFill>
                  <a:srgbClr val="EB6437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И О ПОВЫШЕНИИ </a:t>
            </a:r>
            <a:r>
              <a:rPr lang="ru-RU" sz="3600" b="1" dirty="0" smtClean="0">
                <a:solidFill>
                  <a:srgbClr val="EB6437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ЭНЕРГЕТИЧЕСКОЙ</a:t>
            </a:r>
            <a:r>
              <a:rPr lang="ru-RU" sz="3600" b="1" dirty="0">
                <a:solidFill>
                  <a:srgbClr val="EB6437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3600" b="1" dirty="0" smtClean="0">
                <a:solidFill>
                  <a:srgbClr val="EB6437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ЭФФЕКТИВНОСТИ»</a:t>
            </a:r>
          </a:p>
          <a:p>
            <a:pPr marL="0" indent="0">
              <a:buNone/>
            </a:pPr>
            <a:r>
              <a:rPr lang="ru-RU" sz="3600" b="1" dirty="0" smtClean="0">
                <a:solidFill>
                  <a:srgbClr val="EB6437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ЕСТЬ ЛИ СВЯЗЬ С ОБЕСПЕЧЕНИЕМ НАДЕЖНОСТИ ТЕПЛОСНАБЖЕНИЯ?</a:t>
            </a:r>
            <a:endParaRPr lang="en-US" altLang="en-US" sz="3600" b="1" dirty="0">
              <a:solidFill>
                <a:srgbClr val="EB6437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3531903" y="6308647"/>
            <a:ext cx="7731761" cy="584775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>
              <a:defRPr/>
            </a:pPr>
            <a:r>
              <a:rPr lang="ru-RU" sz="1600" b="1" dirty="0">
                <a:ln/>
                <a:latin typeface="Verdana" panose="020B0604030504040204" pitchFamily="34" charset="0"/>
                <a:ea typeface="Verdana" panose="020B0604030504040204" pitchFamily="34" charset="0"/>
              </a:rPr>
              <a:t>Рындин Игорь Николаевич</a:t>
            </a:r>
          </a:p>
          <a:p>
            <a:pPr>
              <a:defRPr/>
            </a:pPr>
            <a:r>
              <a:rPr lang="ru-RU" sz="1600" b="1" dirty="0">
                <a:ln/>
                <a:latin typeface="Verdana" panose="020B0604030504040204" pitchFamily="34" charset="0"/>
                <a:ea typeface="Verdana" panose="020B0604030504040204" pitchFamily="34" charset="0"/>
              </a:rPr>
              <a:t>Генеральный директор АО «</a:t>
            </a:r>
            <a:r>
              <a:rPr lang="ru-RU" sz="1600" b="1" dirty="0" smtClean="0">
                <a:ln/>
                <a:latin typeface="Verdana" panose="020B0604030504040204" pitchFamily="34" charset="0"/>
                <a:ea typeface="Verdana" panose="020B0604030504040204" pitchFamily="34" charset="0"/>
              </a:rPr>
              <a:t>УСТЭК-Челябинск»</a:t>
            </a:r>
          </a:p>
        </p:txBody>
      </p:sp>
    </p:spTree>
    <p:extLst>
      <p:ext uri="{BB962C8B-B14F-4D97-AF65-F5344CB8AC3E}">
        <p14:creationId xmlns:p14="http://schemas.microsoft.com/office/powerpoint/2010/main" val="40355440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3">
            <a:extLst>
              <a:ext uri="{FF2B5EF4-FFF2-40B4-BE49-F238E27FC236}">
                <a16:creationId xmlns:a16="http://schemas.microsoft.com/office/drawing/2014/main" id="{161AB697-64E8-430E-9907-3FC3541712A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5855392"/>
              </p:ext>
            </p:extLst>
          </p:nvPr>
        </p:nvGraphicFramePr>
        <p:xfrm>
          <a:off x="682327" y="2249121"/>
          <a:ext cx="16094034" cy="66432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18761">
                  <a:extLst>
                    <a:ext uri="{9D8B030D-6E8A-4147-A177-3AD203B41FA5}">
                      <a16:colId xmlns:a16="http://schemas.microsoft.com/office/drawing/2014/main" val="454207982"/>
                    </a:ext>
                  </a:extLst>
                </a:gridCol>
                <a:gridCol w="290070">
                  <a:extLst>
                    <a:ext uri="{9D8B030D-6E8A-4147-A177-3AD203B41FA5}">
                      <a16:colId xmlns:a16="http://schemas.microsoft.com/office/drawing/2014/main" val="1316929861"/>
                    </a:ext>
                  </a:extLst>
                </a:gridCol>
                <a:gridCol w="3629721">
                  <a:extLst>
                    <a:ext uri="{9D8B030D-6E8A-4147-A177-3AD203B41FA5}">
                      <a16:colId xmlns:a16="http://schemas.microsoft.com/office/drawing/2014/main" val="441565367"/>
                    </a:ext>
                  </a:extLst>
                </a:gridCol>
                <a:gridCol w="290070">
                  <a:extLst>
                    <a:ext uri="{9D8B030D-6E8A-4147-A177-3AD203B41FA5}">
                      <a16:colId xmlns:a16="http://schemas.microsoft.com/office/drawing/2014/main" val="473808451"/>
                    </a:ext>
                  </a:extLst>
                </a:gridCol>
                <a:gridCol w="3629721">
                  <a:extLst>
                    <a:ext uri="{9D8B030D-6E8A-4147-A177-3AD203B41FA5}">
                      <a16:colId xmlns:a16="http://schemas.microsoft.com/office/drawing/2014/main" val="4155371595"/>
                    </a:ext>
                  </a:extLst>
                </a:gridCol>
                <a:gridCol w="290378">
                  <a:extLst>
                    <a:ext uri="{9D8B030D-6E8A-4147-A177-3AD203B41FA5}">
                      <a16:colId xmlns:a16="http://schemas.microsoft.com/office/drawing/2014/main" val="2500420559"/>
                    </a:ext>
                  </a:extLst>
                </a:gridCol>
                <a:gridCol w="5045313">
                  <a:extLst>
                    <a:ext uri="{9D8B030D-6E8A-4147-A177-3AD203B41FA5}">
                      <a16:colId xmlns:a16="http://schemas.microsoft.com/office/drawing/2014/main" val="101469032"/>
                    </a:ext>
                  </a:extLst>
                </a:gridCol>
              </a:tblGrid>
              <a:tr h="533272">
                <a:tc>
                  <a:txBody>
                    <a:bodyPr/>
                    <a:lstStyle/>
                    <a:p>
                      <a:pPr marL="0" marR="0" lvl="0" indent="0" algn="ctr" defTabSz="12801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Дома одной серии</a:t>
                      </a:r>
                    </a:p>
                  </a:txBody>
                  <a:tcPr marL="91433" marR="91433" marT="45725" marB="4572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C37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000" dirty="0"/>
                    </a:p>
                  </a:txBody>
                  <a:tcPr marL="91433" marR="91433" marT="45725" marB="4572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12801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Старые нормативы</a:t>
                      </a:r>
                    </a:p>
                  </a:txBody>
                  <a:tcPr marL="91433" marR="91433" marT="45725" marB="4572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9B4A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2000" dirty="0"/>
                    </a:p>
                  </a:txBody>
                  <a:tcPr marL="91433" marR="91433" marT="45725" marB="4572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801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Новые нормативы. Метод аналогов</a:t>
                      </a:r>
                    </a:p>
                  </a:txBody>
                  <a:tcPr marL="91433" marR="91433" marT="45725" marB="4572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3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6632361"/>
                  </a:ext>
                </a:extLst>
              </a:tr>
              <a:tr h="2092696">
                <a:tc rowSpan="2">
                  <a:txBody>
                    <a:bodyPr/>
                    <a:lstStyle/>
                    <a:p>
                      <a:endParaRPr lang="ru-RU" sz="1500" dirty="0"/>
                    </a:p>
                  </a:txBody>
                  <a:tcPr marL="91433" marR="91433" marT="45725" marB="45725">
                    <a:lnL w="12700" cmpd="sng">
                      <a:noFill/>
                    </a:lnL>
                    <a:lnR w="12700" cmpd="sng"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F2E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/>
                    </a:p>
                  </a:txBody>
                  <a:tcPr marL="91433" marR="91433" marT="45725" marB="45725">
                    <a:lnL w="12700" cmpd="sng">
                      <a:noFill/>
                    </a:lnL>
                    <a:lnR w="12700" cmpd="sng"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Нет ОПУ.</a:t>
                      </a:r>
                    </a:p>
                    <a:p>
                      <a:pPr algn="ctr"/>
                      <a:r>
                        <a:rPr lang="ru-RU" sz="16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отребление по нормативу</a:t>
                      </a:r>
                      <a:r>
                        <a:rPr lang="ru-RU" sz="18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.</a:t>
                      </a:r>
                    </a:p>
                  </a:txBody>
                  <a:tcPr marL="91433" marR="91433" marT="45725" marB="45725" anchor="ctr">
                    <a:lnL w="12700" cmpd="sng">
                      <a:noFill/>
                    </a:lnL>
                    <a:lnR w="12700" cmpd="sng"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1DD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800" dirty="0"/>
                    </a:p>
                  </a:txBody>
                  <a:tcPr marL="91433" marR="91433" marT="45725" marB="45725" anchor="ctr">
                    <a:lnL w="12700" cmpd="sng">
                      <a:noFill/>
                    </a:lnL>
                    <a:lnR w="12700" cmpd="sng"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Исполнил № 261-ФЗ </a:t>
                      </a:r>
                      <a:r>
                        <a:rPr lang="en-US" sz="16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—</a:t>
                      </a:r>
                      <a:r>
                        <a:rPr lang="ru-RU" sz="16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/>
                      </a:r>
                      <a:br>
                        <a:rPr lang="ru-RU" sz="16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</a:br>
                      <a:r>
                        <a:rPr lang="ru-RU" sz="16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установил ОПУ.</a:t>
                      </a:r>
                    </a:p>
                    <a:p>
                      <a:pPr algn="ctr"/>
                      <a:r>
                        <a:rPr lang="ru-RU" sz="1600" dirty="0" err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овел</a:t>
                      </a:r>
                      <a:r>
                        <a:rPr lang="ru-RU" sz="16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энергосберегающие мероприятия.</a:t>
                      </a:r>
                    </a:p>
                    <a:p>
                      <a:pPr algn="ctr"/>
                      <a:r>
                        <a:rPr lang="ru-RU" sz="16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отребление по ОПУ.</a:t>
                      </a:r>
                    </a:p>
                  </a:txBody>
                  <a:tcPr marL="91433" marR="91433" marT="45725" marB="45725" anchor="ctr">
                    <a:lnL w="12700" cmpd="sng">
                      <a:noFill/>
                    </a:lnL>
                    <a:lnR w="12700" cmpd="sng"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1DD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800" dirty="0"/>
                    </a:p>
                  </a:txBody>
                  <a:tcPr marL="91433" marR="91433" marT="45725" marB="45725" anchor="ctr">
                    <a:lnL w="12700" cmpd="sng">
                      <a:noFill/>
                    </a:lnL>
                    <a:lnR w="12700" cmpd="sng"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Исполнил закон.</a:t>
                      </a:r>
                    </a:p>
                    <a:p>
                      <a:pPr algn="ctr"/>
                      <a:r>
                        <a:rPr lang="ru-RU" sz="16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отребление по ОПУ.</a:t>
                      </a:r>
                    </a:p>
                    <a:p>
                      <a:pPr algn="ctr"/>
                      <a:r>
                        <a:rPr lang="ru-RU" sz="16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Весь эффект забрали.</a:t>
                      </a:r>
                    </a:p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600" b="1" dirty="0" err="1">
                          <a:solidFill>
                            <a:srgbClr val="E34817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Демотивирует</a:t>
                      </a:r>
                      <a:r>
                        <a:rPr lang="ru-RU" sz="1600" b="1" dirty="0">
                          <a:solidFill>
                            <a:srgbClr val="E34817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 дальнейшему </a:t>
                      </a:r>
                      <a:br>
                        <a:rPr lang="ru-RU" sz="1600" b="1" dirty="0">
                          <a:solidFill>
                            <a:srgbClr val="E34817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</a:br>
                      <a:r>
                        <a:rPr lang="ru-RU" sz="1600" b="1" dirty="0">
                          <a:solidFill>
                            <a:srgbClr val="E34817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исполнению № 261-ФЗ</a:t>
                      </a:r>
                    </a:p>
                  </a:txBody>
                  <a:tcPr marL="91433" marR="91433" marT="45725" marB="45725" anchor="ctr">
                    <a:lnL w="12700" cmpd="sng">
                      <a:noFill/>
                    </a:lnL>
                    <a:lnR w="12700" cmpd="sng"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D8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9254429"/>
                  </a:ext>
                </a:extLst>
              </a:tr>
              <a:tr h="804881">
                <a:tc vMerge="1">
                  <a:txBody>
                    <a:bodyPr/>
                    <a:lstStyle/>
                    <a:p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500" dirty="0"/>
                    </a:p>
                  </a:txBody>
                  <a:tcPr marL="91433" marR="91433" marT="45725" marB="4572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8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marL="91433" marR="91433" marT="45725" marB="4572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1DD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800" dirty="0"/>
                    </a:p>
                  </a:txBody>
                  <a:tcPr marL="91433" marR="91433" marT="45725" marB="4572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8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marL="91433" marR="91433" marT="45725" marB="4572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1DD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800" dirty="0"/>
                    </a:p>
                  </a:txBody>
                  <a:tcPr marL="91433" marR="91433" marT="45725" marB="4572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800" b="1" dirty="0">
                        <a:solidFill>
                          <a:srgbClr val="E34817"/>
                        </a:solidFill>
                      </a:endParaRPr>
                    </a:p>
                  </a:txBody>
                  <a:tcPr marL="91433" marR="91433" marT="45725" marB="4572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D8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0618372"/>
                  </a:ext>
                </a:extLst>
              </a:tr>
              <a:tr h="314800"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L="91433" marR="91433" marT="45725" marB="4572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L="91433" marR="91433" marT="45725" marB="4572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L="91433" marR="91433" marT="45725" marB="4572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L="91433" marR="91433" marT="45725" marB="4572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L="91433" marR="91433" marT="45725" marB="4572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L="91433" marR="91433" marT="45725" marB="4572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L="91433" marR="91433" marT="45725" marB="4572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0131200"/>
                  </a:ext>
                </a:extLst>
              </a:tr>
              <a:tr h="2092696">
                <a:tc rowSpan="2">
                  <a:txBody>
                    <a:bodyPr/>
                    <a:lstStyle/>
                    <a:p>
                      <a:endParaRPr lang="ru-RU" sz="1500" dirty="0"/>
                    </a:p>
                  </a:txBody>
                  <a:tcPr marL="91433" marR="91433" marT="45725" marB="4572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F2E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/>
                    </a:p>
                  </a:txBody>
                  <a:tcPr marL="91433" marR="91433" marT="45725" marB="4572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Нет ОПУ.</a:t>
                      </a:r>
                    </a:p>
                    <a:p>
                      <a:pPr algn="ctr"/>
                      <a:r>
                        <a:rPr lang="ru-RU" sz="16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отребление по нормативу.</a:t>
                      </a:r>
                    </a:p>
                  </a:txBody>
                  <a:tcPr marL="91433" marR="91433" marT="45725" marB="4572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1DD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91433" marR="91433" marT="45725" marB="4572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Ничего не сделал.</a:t>
                      </a:r>
                    </a:p>
                    <a:p>
                      <a:pPr algn="ctr"/>
                      <a:r>
                        <a:rPr lang="ru-RU" sz="16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отребление по нормативу.</a:t>
                      </a:r>
                      <a:endParaRPr lang="ru-RU" sz="1600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91433" marR="91433" marT="45725" marB="4572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1DD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800" dirty="0"/>
                    </a:p>
                  </a:txBody>
                  <a:tcPr marL="91433" marR="91433" marT="45725" marB="4572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Нет ОПУ. </a:t>
                      </a:r>
                    </a:p>
                    <a:p>
                      <a:pPr algn="ctr"/>
                      <a:r>
                        <a:rPr lang="ru-RU" sz="16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отребление по нормативу</a:t>
                      </a:r>
                    </a:p>
                    <a:p>
                      <a:pPr algn="ctr"/>
                      <a:r>
                        <a:rPr lang="ru-RU" sz="16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Ничего не сделал.</a:t>
                      </a:r>
                    </a:p>
                    <a:p>
                      <a:pPr algn="ctr"/>
                      <a:r>
                        <a:rPr lang="ru-RU" sz="16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Не исполнил закон.</a:t>
                      </a:r>
                    </a:p>
                    <a:p>
                      <a:pPr algn="ctr"/>
                      <a:r>
                        <a:rPr lang="ru-RU" sz="16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олучил эффект.</a:t>
                      </a:r>
                    </a:p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ru-RU" sz="1600" b="1" dirty="0">
                          <a:solidFill>
                            <a:srgbClr val="E34817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Мотивирует к дальнейшему </a:t>
                      </a:r>
                      <a:br>
                        <a:rPr lang="ru-RU" sz="1600" b="1" dirty="0">
                          <a:solidFill>
                            <a:srgbClr val="E34817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</a:br>
                      <a:r>
                        <a:rPr lang="ru-RU" sz="1600" b="1" dirty="0" err="1">
                          <a:solidFill>
                            <a:srgbClr val="E34817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НЕисполнению</a:t>
                      </a:r>
                      <a:r>
                        <a:rPr lang="ru-RU" sz="1600" b="1" dirty="0">
                          <a:solidFill>
                            <a:srgbClr val="E34817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№ 261-ФЗ</a:t>
                      </a:r>
                    </a:p>
                  </a:txBody>
                  <a:tcPr marL="91433" marR="91433" marT="45725" marB="4572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D8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3424032"/>
                  </a:ext>
                </a:extLst>
              </a:tr>
              <a:tr h="804881">
                <a:tc vMerge="1">
                  <a:txBody>
                    <a:bodyPr/>
                    <a:lstStyle/>
                    <a:p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500" dirty="0"/>
                    </a:p>
                  </a:txBody>
                  <a:tcPr marL="91433" marR="91433" marT="45725" marB="4572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8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marL="91433" marR="91433" marT="45725" marB="4572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1DD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800" dirty="0"/>
                    </a:p>
                  </a:txBody>
                  <a:tcPr marL="91433" marR="91433" marT="45725" marB="4572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800" dirty="0"/>
                    </a:p>
                  </a:txBody>
                  <a:tcPr marL="91433" marR="91433" marT="45725" marB="4572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1DD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800" dirty="0"/>
                    </a:p>
                  </a:txBody>
                  <a:tcPr marL="91433" marR="91433" marT="45725" marB="4572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800" b="1" dirty="0">
                        <a:solidFill>
                          <a:srgbClr val="E34817"/>
                        </a:solidFill>
                      </a:endParaRPr>
                    </a:p>
                  </a:txBody>
                  <a:tcPr marL="91433" marR="91433" marT="45725" marB="4572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D8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0949987"/>
                  </a:ext>
                </a:extLst>
              </a:tr>
            </a:tbl>
          </a:graphicData>
        </a:graphic>
      </p:graphicFrame>
      <p:sp>
        <p:nvSpPr>
          <p:cNvPr id="24" name="Прямоугольник: скругленные углы 23">
            <a:extLst>
              <a:ext uri="{FF2B5EF4-FFF2-40B4-BE49-F238E27FC236}">
                <a16:creationId xmlns:a16="http://schemas.microsoft.com/office/drawing/2014/main" id="{6513BDF6-B8B5-4C47-9C8B-73C6C459C381}"/>
              </a:ext>
            </a:extLst>
          </p:cNvPr>
          <p:cNvSpPr/>
          <p:nvPr/>
        </p:nvSpPr>
        <p:spPr>
          <a:xfrm>
            <a:off x="4465934" y="4718376"/>
            <a:ext cx="2987040" cy="623117"/>
          </a:xfrm>
          <a:prstGeom prst="roundRect">
            <a:avLst>
              <a:gd name="adj" fmla="val 11326"/>
            </a:avLst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anchor="ctr"/>
          <a:lstStyle/>
          <a:p>
            <a:pPr algn="ctr">
              <a:defRPr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латил по нормативу </a:t>
            </a:r>
          </a:p>
          <a:p>
            <a:pPr algn="ctr">
              <a:defRPr/>
            </a:pPr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0 </a:t>
            </a:r>
            <a:r>
              <a:rPr lang="ru-RU" sz="14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усл</a:t>
            </a:r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. ед.</a:t>
            </a:r>
          </a:p>
        </p:txBody>
      </p:sp>
      <p:sp>
        <p:nvSpPr>
          <p:cNvPr id="62" name="Прямоугольник: скругленные углы 61">
            <a:extLst>
              <a:ext uri="{FF2B5EF4-FFF2-40B4-BE49-F238E27FC236}">
                <a16:creationId xmlns:a16="http://schemas.microsoft.com/office/drawing/2014/main" id="{BA12464C-5B74-41C8-AC55-C46A68CA5C3E}"/>
              </a:ext>
            </a:extLst>
          </p:cNvPr>
          <p:cNvSpPr/>
          <p:nvPr/>
        </p:nvSpPr>
        <p:spPr>
          <a:xfrm>
            <a:off x="4465934" y="8162135"/>
            <a:ext cx="2987040" cy="623117"/>
          </a:xfrm>
          <a:prstGeom prst="roundRect">
            <a:avLst>
              <a:gd name="adj" fmla="val 11326"/>
            </a:avLst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anchor="ctr"/>
          <a:lstStyle/>
          <a:p>
            <a:pPr algn="ctr">
              <a:defRPr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латил по нормативу </a:t>
            </a:r>
          </a:p>
          <a:p>
            <a:pPr algn="ctr">
              <a:defRPr/>
            </a:pPr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0 </a:t>
            </a:r>
            <a:r>
              <a:rPr lang="ru-RU" sz="14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усл</a:t>
            </a:r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. ед.</a:t>
            </a:r>
          </a:p>
        </p:txBody>
      </p:sp>
      <p:sp>
        <p:nvSpPr>
          <p:cNvPr id="63" name="Прямоугольник: скругленные углы 62">
            <a:extLst>
              <a:ext uri="{FF2B5EF4-FFF2-40B4-BE49-F238E27FC236}">
                <a16:creationId xmlns:a16="http://schemas.microsoft.com/office/drawing/2014/main" id="{324BF30A-59EF-44FA-BDF7-9C7E7E78C4E5}"/>
              </a:ext>
            </a:extLst>
          </p:cNvPr>
          <p:cNvSpPr/>
          <p:nvPr/>
        </p:nvSpPr>
        <p:spPr>
          <a:xfrm>
            <a:off x="8315304" y="8162135"/>
            <a:ext cx="2989263" cy="623117"/>
          </a:xfrm>
          <a:prstGeom prst="roundRect">
            <a:avLst>
              <a:gd name="adj" fmla="val 11326"/>
            </a:avLst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anchor="ctr"/>
          <a:lstStyle/>
          <a:p>
            <a:pPr algn="ctr"/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латил по нормативу </a:t>
            </a:r>
          </a:p>
          <a:p>
            <a:pPr algn="ctr"/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0 </a:t>
            </a:r>
            <a:r>
              <a:rPr lang="ru-RU" sz="14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усл</a:t>
            </a:r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. ед.</a:t>
            </a:r>
          </a:p>
        </p:txBody>
      </p:sp>
      <p:sp>
        <p:nvSpPr>
          <p:cNvPr id="64" name="Прямоугольник: скругленные углы 63">
            <a:extLst>
              <a:ext uri="{FF2B5EF4-FFF2-40B4-BE49-F238E27FC236}">
                <a16:creationId xmlns:a16="http://schemas.microsoft.com/office/drawing/2014/main" id="{05BA1130-73A0-4051-BF48-081CED9D8264}"/>
              </a:ext>
            </a:extLst>
          </p:cNvPr>
          <p:cNvSpPr/>
          <p:nvPr/>
        </p:nvSpPr>
        <p:spPr>
          <a:xfrm>
            <a:off x="13055897" y="8162135"/>
            <a:ext cx="2987040" cy="623117"/>
          </a:xfrm>
          <a:prstGeom prst="roundRect">
            <a:avLst>
              <a:gd name="adj" fmla="val 11326"/>
            </a:avLst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anchor="ctr"/>
          <a:lstStyle/>
          <a:p>
            <a:pPr algn="ctr">
              <a:defRPr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латил по нормативу </a:t>
            </a:r>
          </a:p>
          <a:p>
            <a:pPr algn="ctr">
              <a:defRPr/>
            </a:pPr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8 </a:t>
            </a:r>
            <a:r>
              <a:rPr lang="ru-RU" sz="14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усл</a:t>
            </a:r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. ед.</a:t>
            </a:r>
          </a:p>
        </p:txBody>
      </p:sp>
      <p:sp>
        <p:nvSpPr>
          <p:cNvPr id="73" name="Прямоугольник: скругленные углы 72">
            <a:extLst>
              <a:ext uri="{FF2B5EF4-FFF2-40B4-BE49-F238E27FC236}">
                <a16:creationId xmlns:a16="http://schemas.microsoft.com/office/drawing/2014/main" id="{61560CDC-EEF1-422D-9DF2-A89A363DDE09}"/>
              </a:ext>
            </a:extLst>
          </p:cNvPr>
          <p:cNvSpPr/>
          <p:nvPr/>
        </p:nvSpPr>
        <p:spPr>
          <a:xfrm>
            <a:off x="8315304" y="4718376"/>
            <a:ext cx="2989263" cy="623117"/>
          </a:xfrm>
          <a:prstGeom prst="roundRect">
            <a:avLst>
              <a:gd name="adj" fmla="val 11326"/>
            </a:avLst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anchor="ctr"/>
          <a:lstStyle/>
          <a:p>
            <a:pPr algn="ctr">
              <a:defRPr/>
            </a:pPr>
            <a:r>
              <a:rPr lang="ru-RU" sz="1400" b="1" dirty="0">
                <a:solidFill>
                  <a:schemeClr val="accent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латил по ОПУ </a:t>
            </a:r>
          </a:p>
          <a:p>
            <a:pPr algn="ctr">
              <a:defRPr/>
            </a:pPr>
            <a:r>
              <a:rPr lang="ru-RU" sz="1400" b="1" dirty="0">
                <a:solidFill>
                  <a:schemeClr val="accent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8 </a:t>
            </a:r>
            <a:r>
              <a:rPr lang="ru-RU" sz="1400" b="1" dirty="0" err="1">
                <a:solidFill>
                  <a:schemeClr val="accent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усл</a:t>
            </a:r>
            <a:r>
              <a:rPr lang="ru-RU" sz="1400" b="1" dirty="0">
                <a:solidFill>
                  <a:schemeClr val="accent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. ед.</a:t>
            </a:r>
          </a:p>
        </p:txBody>
      </p:sp>
      <p:sp>
        <p:nvSpPr>
          <p:cNvPr id="86" name="Прямоугольник: скругленные углы 85">
            <a:extLst>
              <a:ext uri="{FF2B5EF4-FFF2-40B4-BE49-F238E27FC236}">
                <a16:creationId xmlns:a16="http://schemas.microsoft.com/office/drawing/2014/main" id="{F7E6E099-B0F0-4677-BBF5-7B4427725996}"/>
              </a:ext>
            </a:extLst>
          </p:cNvPr>
          <p:cNvSpPr/>
          <p:nvPr/>
        </p:nvSpPr>
        <p:spPr>
          <a:xfrm>
            <a:off x="13055897" y="4718376"/>
            <a:ext cx="2987040" cy="623117"/>
          </a:xfrm>
          <a:prstGeom prst="roundRect">
            <a:avLst>
              <a:gd name="adj" fmla="val 11326"/>
            </a:avLst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anchor="ctr"/>
          <a:lstStyle/>
          <a:p>
            <a:pPr algn="ctr">
              <a:defRPr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латил по ОПУ </a:t>
            </a:r>
          </a:p>
          <a:p>
            <a:pPr algn="ctr">
              <a:defRPr/>
            </a:pPr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8 </a:t>
            </a:r>
            <a:r>
              <a:rPr lang="ru-RU" sz="14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усл</a:t>
            </a:r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. ед.</a:t>
            </a:r>
          </a:p>
        </p:txBody>
      </p:sp>
      <p:sp>
        <p:nvSpPr>
          <p:cNvPr id="6" name="AutoShape 3">
            <a:extLst>
              <a:ext uri="{FF2B5EF4-FFF2-40B4-BE49-F238E27FC236}">
                <a16:creationId xmlns:a16="http://schemas.microsoft.com/office/drawing/2014/main" id="{6D90F470-19AB-47C3-9F7D-CCB15DFBB29A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943590" y="417830"/>
            <a:ext cx="871220" cy="871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40" tIns="45720" rIns="91440" bIns="45720"/>
          <a:lstStyle/>
          <a:p>
            <a:pPr>
              <a:defRPr/>
            </a:pPr>
            <a:endParaRPr lang="ru-RU" sz="180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7217" name="Группа 10"/>
          <p:cNvGrpSpPr>
            <a:grpSpLocks noChangeAspect="1"/>
          </p:cNvGrpSpPr>
          <p:nvPr/>
        </p:nvGrpSpPr>
        <p:grpSpPr bwMode="auto">
          <a:xfrm>
            <a:off x="12609174" y="4685648"/>
            <a:ext cx="720090" cy="691404"/>
            <a:chOff x="10979150" y="453570"/>
            <a:chExt cx="800100" cy="800100"/>
          </a:xfrm>
        </p:grpSpPr>
        <p:sp>
          <p:nvSpPr>
            <p:cNvPr id="8" name="Oval 6">
              <a:extLst>
                <a:ext uri="{FF2B5EF4-FFF2-40B4-BE49-F238E27FC236}">
                  <a16:creationId xmlns:a16="http://schemas.microsoft.com/office/drawing/2014/main" id="{948B0BF8-B30A-41E3-956B-11439DFECB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979150" y="453570"/>
              <a:ext cx="800100" cy="8001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lIns="91440" tIns="45720" rIns="91440" bIns="45720"/>
            <a:lstStyle/>
            <a:p>
              <a:pPr>
                <a:defRPr/>
              </a:pPr>
              <a:endParaRPr lang="ru-RU" sz="140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BFEED6ED-F2D0-415D-B607-1B7385C746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66828" y="730148"/>
              <a:ext cx="424744" cy="382765"/>
            </a:xfrm>
            <a:custGeom>
              <a:avLst/>
              <a:gdLst>
                <a:gd name="T0" fmla="*/ 255 w 470"/>
                <a:gd name="T1" fmla="*/ 340 h 423"/>
                <a:gd name="T2" fmla="*/ 255 w 470"/>
                <a:gd name="T3" fmla="*/ 340 h 423"/>
                <a:gd name="T4" fmla="*/ 255 w 470"/>
                <a:gd name="T5" fmla="*/ 340 h 423"/>
                <a:gd name="T6" fmla="*/ 316 w 470"/>
                <a:gd name="T7" fmla="*/ 156 h 423"/>
                <a:gd name="T8" fmla="*/ 358 w 470"/>
                <a:gd name="T9" fmla="*/ 199 h 423"/>
                <a:gd name="T10" fmla="*/ 401 w 470"/>
                <a:gd name="T11" fmla="*/ 156 h 423"/>
                <a:gd name="T12" fmla="*/ 358 w 470"/>
                <a:gd name="T13" fmla="*/ 114 h 423"/>
                <a:gd name="T14" fmla="*/ 316 w 470"/>
                <a:gd name="T15" fmla="*/ 156 h 423"/>
                <a:gd name="T16" fmla="*/ 69 w 470"/>
                <a:gd name="T17" fmla="*/ 156 h 423"/>
                <a:gd name="T18" fmla="*/ 111 w 470"/>
                <a:gd name="T19" fmla="*/ 199 h 423"/>
                <a:gd name="T20" fmla="*/ 154 w 470"/>
                <a:gd name="T21" fmla="*/ 156 h 423"/>
                <a:gd name="T22" fmla="*/ 111 w 470"/>
                <a:gd name="T23" fmla="*/ 114 h 423"/>
                <a:gd name="T24" fmla="*/ 69 w 470"/>
                <a:gd name="T25" fmla="*/ 156 h 423"/>
                <a:gd name="T26" fmla="*/ 137 w 470"/>
                <a:gd name="T27" fmla="*/ 420 h 423"/>
                <a:gd name="T28" fmla="*/ 332 w 470"/>
                <a:gd name="T29" fmla="*/ 422 h 423"/>
                <a:gd name="T30" fmla="*/ 359 w 470"/>
                <a:gd name="T31" fmla="*/ 403 h 423"/>
                <a:gd name="T32" fmla="*/ 359 w 470"/>
                <a:gd name="T33" fmla="*/ 401 h 423"/>
                <a:gd name="T34" fmla="*/ 339 w 470"/>
                <a:gd name="T35" fmla="*/ 375 h 423"/>
                <a:gd name="T36" fmla="*/ 131 w 470"/>
                <a:gd name="T37" fmla="*/ 373 h 423"/>
                <a:gd name="T38" fmla="*/ 111 w 470"/>
                <a:gd name="T39" fmla="*/ 400 h 423"/>
                <a:gd name="T40" fmla="*/ 111 w 470"/>
                <a:gd name="T41" fmla="*/ 401 h 423"/>
                <a:gd name="T42" fmla="*/ 137 w 470"/>
                <a:gd name="T43" fmla="*/ 420 h 423"/>
                <a:gd name="T44" fmla="*/ 469 w 470"/>
                <a:gd name="T45" fmla="*/ 70 h 423"/>
                <a:gd name="T46" fmla="*/ 395 w 470"/>
                <a:gd name="T47" fmla="*/ 36 h 423"/>
                <a:gd name="T48" fmla="*/ 320 w 470"/>
                <a:gd name="T49" fmla="*/ 3 h 423"/>
                <a:gd name="T50" fmla="*/ 388 w 470"/>
                <a:gd name="T51" fmla="*/ 50 h 423"/>
                <a:gd name="T52" fmla="*/ 469 w 470"/>
                <a:gd name="T53" fmla="*/ 70 h 423"/>
                <a:gd name="T54" fmla="*/ 255 w 470"/>
                <a:gd name="T55" fmla="*/ 344 h 423"/>
                <a:gd name="T56" fmla="*/ 255 w 470"/>
                <a:gd name="T57" fmla="*/ 343 h 423"/>
                <a:gd name="T58" fmla="*/ 255 w 470"/>
                <a:gd name="T59" fmla="*/ 344 h 423"/>
                <a:gd name="T60" fmla="*/ 1 w 470"/>
                <a:gd name="T61" fmla="*/ 70 h 423"/>
                <a:gd name="T62" fmla="*/ 75 w 470"/>
                <a:gd name="T63" fmla="*/ 36 h 423"/>
                <a:gd name="T64" fmla="*/ 150 w 470"/>
                <a:gd name="T65" fmla="*/ 3 h 423"/>
                <a:gd name="T66" fmla="*/ 81 w 470"/>
                <a:gd name="T67" fmla="*/ 50 h 423"/>
                <a:gd name="T68" fmla="*/ 1 w 470"/>
                <a:gd name="T69" fmla="*/ 70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70" h="423">
                  <a:moveTo>
                    <a:pt x="255" y="340"/>
                  </a:moveTo>
                  <a:cubicBezTo>
                    <a:pt x="255" y="340"/>
                    <a:pt x="255" y="340"/>
                    <a:pt x="255" y="340"/>
                  </a:cubicBezTo>
                  <a:cubicBezTo>
                    <a:pt x="255" y="340"/>
                    <a:pt x="255" y="340"/>
                    <a:pt x="255" y="340"/>
                  </a:cubicBezTo>
                  <a:close/>
                  <a:moveTo>
                    <a:pt x="316" y="156"/>
                  </a:moveTo>
                  <a:cubicBezTo>
                    <a:pt x="316" y="180"/>
                    <a:pt x="335" y="199"/>
                    <a:pt x="358" y="199"/>
                  </a:cubicBezTo>
                  <a:cubicBezTo>
                    <a:pt x="382" y="199"/>
                    <a:pt x="401" y="180"/>
                    <a:pt x="401" y="156"/>
                  </a:cubicBezTo>
                  <a:cubicBezTo>
                    <a:pt x="401" y="133"/>
                    <a:pt x="382" y="114"/>
                    <a:pt x="358" y="114"/>
                  </a:cubicBezTo>
                  <a:cubicBezTo>
                    <a:pt x="335" y="114"/>
                    <a:pt x="316" y="133"/>
                    <a:pt x="316" y="156"/>
                  </a:cubicBezTo>
                  <a:close/>
                  <a:moveTo>
                    <a:pt x="69" y="156"/>
                  </a:moveTo>
                  <a:cubicBezTo>
                    <a:pt x="69" y="180"/>
                    <a:pt x="88" y="199"/>
                    <a:pt x="111" y="199"/>
                  </a:cubicBezTo>
                  <a:cubicBezTo>
                    <a:pt x="135" y="199"/>
                    <a:pt x="154" y="180"/>
                    <a:pt x="154" y="156"/>
                  </a:cubicBezTo>
                  <a:cubicBezTo>
                    <a:pt x="154" y="133"/>
                    <a:pt x="135" y="114"/>
                    <a:pt x="111" y="114"/>
                  </a:cubicBezTo>
                  <a:cubicBezTo>
                    <a:pt x="88" y="114"/>
                    <a:pt x="69" y="133"/>
                    <a:pt x="69" y="156"/>
                  </a:cubicBezTo>
                  <a:close/>
                  <a:moveTo>
                    <a:pt x="137" y="420"/>
                  </a:moveTo>
                  <a:cubicBezTo>
                    <a:pt x="202" y="412"/>
                    <a:pt x="267" y="412"/>
                    <a:pt x="332" y="422"/>
                  </a:cubicBezTo>
                  <a:cubicBezTo>
                    <a:pt x="345" y="423"/>
                    <a:pt x="357" y="415"/>
                    <a:pt x="359" y="403"/>
                  </a:cubicBezTo>
                  <a:cubicBezTo>
                    <a:pt x="359" y="402"/>
                    <a:pt x="359" y="402"/>
                    <a:pt x="359" y="401"/>
                  </a:cubicBezTo>
                  <a:cubicBezTo>
                    <a:pt x="361" y="389"/>
                    <a:pt x="352" y="377"/>
                    <a:pt x="339" y="375"/>
                  </a:cubicBezTo>
                  <a:cubicBezTo>
                    <a:pt x="270" y="365"/>
                    <a:pt x="200" y="364"/>
                    <a:pt x="131" y="373"/>
                  </a:cubicBezTo>
                  <a:cubicBezTo>
                    <a:pt x="118" y="375"/>
                    <a:pt x="108" y="387"/>
                    <a:pt x="111" y="400"/>
                  </a:cubicBezTo>
                  <a:cubicBezTo>
                    <a:pt x="111" y="400"/>
                    <a:pt x="111" y="401"/>
                    <a:pt x="111" y="401"/>
                  </a:cubicBezTo>
                  <a:cubicBezTo>
                    <a:pt x="113" y="413"/>
                    <a:pt x="125" y="422"/>
                    <a:pt x="137" y="420"/>
                  </a:cubicBezTo>
                  <a:close/>
                  <a:moveTo>
                    <a:pt x="469" y="70"/>
                  </a:moveTo>
                  <a:cubicBezTo>
                    <a:pt x="470" y="66"/>
                    <a:pt x="435" y="54"/>
                    <a:pt x="395" y="36"/>
                  </a:cubicBezTo>
                  <a:cubicBezTo>
                    <a:pt x="354" y="18"/>
                    <a:pt x="322" y="0"/>
                    <a:pt x="320" y="3"/>
                  </a:cubicBezTo>
                  <a:cubicBezTo>
                    <a:pt x="317" y="6"/>
                    <a:pt x="323" y="24"/>
                    <a:pt x="388" y="50"/>
                  </a:cubicBezTo>
                  <a:cubicBezTo>
                    <a:pt x="431" y="66"/>
                    <a:pt x="468" y="74"/>
                    <a:pt x="469" y="70"/>
                  </a:cubicBezTo>
                  <a:close/>
                  <a:moveTo>
                    <a:pt x="255" y="344"/>
                  </a:moveTo>
                  <a:cubicBezTo>
                    <a:pt x="255" y="344"/>
                    <a:pt x="255" y="343"/>
                    <a:pt x="255" y="343"/>
                  </a:cubicBezTo>
                  <a:cubicBezTo>
                    <a:pt x="255" y="343"/>
                    <a:pt x="255" y="344"/>
                    <a:pt x="255" y="344"/>
                  </a:cubicBezTo>
                  <a:close/>
                  <a:moveTo>
                    <a:pt x="1" y="70"/>
                  </a:moveTo>
                  <a:cubicBezTo>
                    <a:pt x="0" y="66"/>
                    <a:pt x="35" y="54"/>
                    <a:pt x="75" y="36"/>
                  </a:cubicBezTo>
                  <a:cubicBezTo>
                    <a:pt x="116" y="18"/>
                    <a:pt x="148" y="0"/>
                    <a:pt x="150" y="3"/>
                  </a:cubicBezTo>
                  <a:cubicBezTo>
                    <a:pt x="152" y="6"/>
                    <a:pt x="147" y="24"/>
                    <a:pt x="81" y="50"/>
                  </a:cubicBezTo>
                  <a:cubicBezTo>
                    <a:pt x="38" y="66"/>
                    <a:pt x="2" y="74"/>
                    <a:pt x="1" y="7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lIns="91440" tIns="45720" rIns="91440" bIns="45720"/>
            <a:lstStyle/>
            <a:p>
              <a:pPr>
                <a:defRPr/>
              </a:pPr>
              <a:endParaRPr lang="ru-RU" sz="140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A32D22A7-0FAF-42D1-A683-7E784AB53F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32256" y="907948"/>
              <a:ext cx="116065" cy="204965"/>
            </a:xfrm>
            <a:custGeom>
              <a:avLst/>
              <a:gdLst>
                <a:gd name="T0" fmla="*/ 0 w 127"/>
                <a:gd name="T1" fmla="*/ 161 h 225"/>
                <a:gd name="T2" fmla="*/ 64 w 127"/>
                <a:gd name="T3" fmla="*/ 225 h 225"/>
                <a:gd name="T4" fmla="*/ 127 w 127"/>
                <a:gd name="T5" fmla="*/ 161 h 225"/>
                <a:gd name="T6" fmla="*/ 64 w 127"/>
                <a:gd name="T7" fmla="*/ 0 h 225"/>
                <a:gd name="T8" fmla="*/ 0 w 127"/>
                <a:gd name="T9" fmla="*/ 161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225">
                  <a:moveTo>
                    <a:pt x="0" y="161"/>
                  </a:moveTo>
                  <a:cubicBezTo>
                    <a:pt x="0" y="196"/>
                    <a:pt x="28" y="225"/>
                    <a:pt x="64" y="225"/>
                  </a:cubicBezTo>
                  <a:cubicBezTo>
                    <a:pt x="99" y="225"/>
                    <a:pt x="127" y="196"/>
                    <a:pt x="127" y="161"/>
                  </a:cubicBezTo>
                  <a:cubicBezTo>
                    <a:pt x="127" y="126"/>
                    <a:pt x="64" y="0"/>
                    <a:pt x="64" y="0"/>
                  </a:cubicBezTo>
                  <a:cubicBezTo>
                    <a:pt x="64" y="0"/>
                    <a:pt x="0" y="126"/>
                    <a:pt x="0" y="161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lIns="91440" tIns="45720" rIns="91440" bIns="45720"/>
            <a:lstStyle/>
            <a:p>
              <a:pPr>
                <a:defRPr/>
              </a:pPr>
              <a:endParaRPr lang="ru-RU" sz="140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7218" name="Группа 17"/>
          <p:cNvGrpSpPr>
            <a:grpSpLocks noChangeAspect="1"/>
          </p:cNvGrpSpPr>
          <p:nvPr/>
        </p:nvGrpSpPr>
        <p:grpSpPr bwMode="auto">
          <a:xfrm>
            <a:off x="12609174" y="8129407"/>
            <a:ext cx="720090" cy="691404"/>
            <a:chOff x="11950700" y="8245475"/>
            <a:chExt cx="733425" cy="731838"/>
          </a:xfrm>
        </p:grpSpPr>
        <p:sp>
          <p:nvSpPr>
            <p:cNvPr id="16" name="Oval 14">
              <a:extLst>
                <a:ext uri="{FF2B5EF4-FFF2-40B4-BE49-F238E27FC236}">
                  <a16:creationId xmlns:a16="http://schemas.microsoft.com/office/drawing/2014/main" id="{691947CD-13C0-44BF-BDE2-717D945161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950700" y="8245475"/>
              <a:ext cx="733425" cy="73183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lIns="91440" tIns="45720" rIns="91440" bIns="45720"/>
            <a:lstStyle/>
            <a:p>
              <a:pPr>
                <a:defRPr/>
              </a:pPr>
              <a:endParaRPr lang="ru-RU" sz="140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" name="Freeform 15">
              <a:extLst>
                <a:ext uri="{FF2B5EF4-FFF2-40B4-BE49-F238E27FC236}">
                  <a16:creationId xmlns:a16="http://schemas.microsoft.com/office/drawing/2014/main" id="{AE14E7F1-0F15-45C7-AE99-F07E11C0C3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002765" y="8478126"/>
              <a:ext cx="629297" cy="320744"/>
            </a:xfrm>
            <a:custGeom>
              <a:avLst/>
              <a:gdLst>
                <a:gd name="T0" fmla="*/ 378 w 755"/>
                <a:gd name="T1" fmla="*/ 350 h 387"/>
                <a:gd name="T2" fmla="*/ 201 w 755"/>
                <a:gd name="T3" fmla="*/ 309 h 387"/>
                <a:gd name="T4" fmla="*/ 199 w 755"/>
                <a:gd name="T5" fmla="*/ 312 h 387"/>
                <a:gd name="T6" fmla="*/ 378 w 755"/>
                <a:gd name="T7" fmla="*/ 387 h 387"/>
                <a:gd name="T8" fmla="*/ 557 w 755"/>
                <a:gd name="T9" fmla="*/ 312 h 387"/>
                <a:gd name="T10" fmla="*/ 554 w 755"/>
                <a:gd name="T11" fmla="*/ 309 h 387"/>
                <a:gd name="T12" fmla="*/ 378 w 755"/>
                <a:gd name="T13" fmla="*/ 350 h 387"/>
                <a:gd name="T14" fmla="*/ 725 w 755"/>
                <a:gd name="T15" fmla="*/ 52 h 387"/>
                <a:gd name="T16" fmla="*/ 750 w 755"/>
                <a:gd name="T17" fmla="*/ 36 h 387"/>
                <a:gd name="T18" fmla="*/ 754 w 755"/>
                <a:gd name="T19" fmla="*/ 25 h 387"/>
                <a:gd name="T20" fmla="*/ 746 w 755"/>
                <a:gd name="T21" fmla="*/ 7 h 387"/>
                <a:gd name="T22" fmla="*/ 734 w 755"/>
                <a:gd name="T23" fmla="*/ 2 h 387"/>
                <a:gd name="T24" fmla="*/ 695 w 755"/>
                <a:gd name="T25" fmla="*/ 18 h 387"/>
                <a:gd name="T26" fmla="*/ 392 w 755"/>
                <a:gd name="T27" fmla="*/ 31 h 387"/>
                <a:gd name="T28" fmla="*/ 382 w 755"/>
                <a:gd name="T29" fmla="*/ 45 h 387"/>
                <a:gd name="T30" fmla="*/ 437 w 755"/>
                <a:gd name="T31" fmla="*/ 221 h 387"/>
                <a:gd name="T32" fmla="*/ 447 w 755"/>
                <a:gd name="T33" fmla="*/ 230 h 387"/>
                <a:gd name="T34" fmla="*/ 653 w 755"/>
                <a:gd name="T35" fmla="*/ 227 h 387"/>
                <a:gd name="T36" fmla="*/ 663 w 755"/>
                <a:gd name="T37" fmla="*/ 218 h 387"/>
                <a:gd name="T38" fmla="*/ 725 w 755"/>
                <a:gd name="T39" fmla="*/ 52 h 387"/>
                <a:gd name="T40" fmla="*/ 30 w 755"/>
                <a:gd name="T41" fmla="*/ 52 h 387"/>
                <a:gd name="T42" fmla="*/ 6 w 755"/>
                <a:gd name="T43" fmla="*/ 36 h 387"/>
                <a:gd name="T44" fmla="*/ 2 w 755"/>
                <a:gd name="T45" fmla="*/ 25 h 387"/>
                <a:gd name="T46" fmla="*/ 9 w 755"/>
                <a:gd name="T47" fmla="*/ 7 h 387"/>
                <a:gd name="T48" fmla="*/ 22 w 755"/>
                <a:gd name="T49" fmla="*/ 2 h 387"/>
                <a:gd name="T50" fmla="*/ 61 w 755"/>
                <a:gd name="T51" fmla="*/ 18 h 387"/>
                <a:gd name="T52" fmla="*/ 363 w 755"/>
                <a:gd name="T53" fmla="*/ 31 h 387"/>
                <a:gd name="T54" fmla="*/ 374 w 755"/>
                <a:gd name="T55" fmla="*/ 45 h 387"/>
                <a:gd name="T56" fmla="*/ 319 w 755"/>
                <a:gd name="T57" fmla="*/ 221 h 387"/>
                <a:gd name="T58" fmla="*/ 308 w 755"/>
                <a:gd name="T59" fmla="*/ 230 h 387"/>
                <a:gd name="T60" fmla="*/ 103 w 755"/>
                <a:gd name="T61" fmla="*/ 227 h 387"/>
                <a:gd name="T62" fmla="*/ 92 w 755"/>
                <a:gd name="T63" fmla="*/ 218 h 387"/>
                <a:gd name="T64" fmla="*/ 30 w 755"/>
                <a:gd name="T65" fmla="*/ 52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55" h="387">
                  <a:moveTo>
                    <a:pt x="378" y="350"/>
                  </a:moveTo>
                  <a:cubicBezTo>
                    <a:pt x="313" y="350"/>
                    <a:pt x="253" y="335"/>
                    <a:pt x="201" y="309"/>
                  </a:cubicBezTo>
                  <a:cubicBezTo>
                    <a:pt x="199" y="308"/>
                    <a:pt x="197" y="311"/>
                    <a:pt x="199" y="312"/>
                  </a:cubicBezTo>
                  <a:cubicBezTo>
                    <a:pt x="245" y="359"/>
                    <a:pt x="308" y="387"/>
                    <a:pt x="378" y="387"/>
                  </a:cubicBezTo>
                  <a:cubicBezTo>
                    <a:pt x="448" y="387"/>
                    <a:pt x="511" y="359"/>
                    <a:pt x="557" y="312"/>
                  </a:cubicBezTo>
                  <a:cubicBezTo>
                    <a:pt x="558" y="311"/>
                    <a:pt x="557" y="308"/>
                    <a:pt x="554" y="309"/>
                  </a:cubicBezTo>
                  <a:cubicBezTo>
                    <a:pt x="503" y="335"/>
                    <a:pt x="443" y="350"/>
                    <a:pt x="378" y="350"/>
                  </a:cubicBezTo>
                  <a:close/>
                  <a:moveTo>
                    <a:pt x="725" y="52"/>
                  </a:moveTo>
                  <a:lnTo>
                    <a:pt x="750" y="36"/>
                  </a:lnTo>
                  <a:cubicBezTo>
                    <a:pt x="754" y="33"/>
                    <a:pt x="755" y="29"/>
                    <a:pt x="754" y="25"/>
                  </a:cubicBezTo>
                  <a:lnTo>
                    <a:pt x="746" y="7"/>
                  </a:lnTo>
                  <a:cubicBezTo>
                    <a:pt x="744" y="2"/>
                    <a:pt x="739" y="0"/>
                    <a:pt x="734" y="2"/>
                  </a:cubicBezTo>
                  <a:lnTo>
                    <a:pt x="695" y="18"/>
                  </a:lnTo>
                  <a:lnTo>
                    <a:pt x="392" y="31"/>
                  </a:lnTo>
                  <a:cubicBezTo>
                    <a:pt x="385" y="31"/>
                    <a:pt x="380" y="38"/>
                    <a:pt x="382" y="45"/>
                  </a:cubicBezTo>
                  <a:lnTo>
                    <a:pt x="437" y="221"/>
                  </a:lnTo>
                  <a:cubicBezTo>
                    <a:pt x="438" y="226"/>
                    <a:pt x="442" y="230"/>
                    <a:pt x="447" y="230"/>
                  </a:cubicBezTo>
                  <a:lnTo>
                    <a:pt x="653" y="227"/>
                  </a:lnTo>
                  <a:cubicBezTo>
                    <a:pt x="658" y="227"/>
                    <a:pt x="662" y="223"/>
                    <a:pt x="663" y="218"/>
                  </a:cubicBezTo>
                  <a:lnTo>
                    <a:pt x="725" y="52"/>
                  </a:lnTo>
                  <a:close/>
                  <a:moveTo>
                    <a:pt x="30" y="52"/>
                  </a:moveTo>
                  <a:lnTo>
                    <a:pt x="6" y="36"/>
                  </a:lnTo>
                  <a:cubicBezTo>
                    <a:pt x="2" y="33"/>
                    <a:pt x="0" y="29"/>
                    <a:pt x="2" y="25"/>
                  </a:cubicBezTo>
                  <a:lnTo>
                    <a:pt x="9" y="7"/>
                  </a:lnTo>
                  <a:cubicBezTo>
                    <a:pt x="11" y="2"/>
                    <a:pt x="17" y="0"/>
                    <a:pt x="22" y="2"/>
                  </a:cubicBezTo>
                  <a:lnTo>
                    <a:pt x="61" y="18"/>
                  </a:lnTo>
                  <a:lnTo>
                    <a:pt x="363" y="31"/>
                  </a:lnTo>
                  <a:cubicBezTo>
                    <a:pt x="371" y="31"/>
                    <a:pt x="376" y="38"/>
                    <a:pt x="374" y="45"/>
                  </a:cubicBezTo>
                  <a:lnTo>
                    <a:pt x="319" y="221"/>
                  </a:lnTo>
                  <a:cubicBezTo>
                    <a:pt x="318" y="226"/>
                    <a:pt x="313" y="230"/>
                    <a:pt x="308" y="230"/>
                  </a:cubicBezTo>
                  <a:lnTo>
                    <a:pt x="103" y="227"/>
                  </a:lnTo>
                  <a:cubicBezTo>
                    <a:pt x="98" y="227"/>
                    <a:pt x="93" y="223"/>
                    <a:pt x="92" y="218"/>
                  </a:cubicBezTo>
                  <a:lnTo>
                    <a:pt x="30" y="5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lIns="91440" tIns="45720" rIns="91440" bIns="45720"/>
            <a:lstStyle/>
            <a:p>
              <a:pPr>
                <a:defRPr/>
              </a:pPr>
              <a:endParaRPr lang="ru-RU" sz="140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7219" name="Группа 38"/>
          <p:cNvGrpSpPr>
            <a:grpSpLocks noChangeAspect="1"/>
          </p:cNvGrpSpPr>
          <p:nvPr/>
        </p:nvGrpSpPr>
        <p:grpSpPr bwMode="auto">
          <a:xfrm>
            <a:off x="7975262" y="4685648"/>
            <a:ext cx="720090" cy="691404"/>
            <a:chOff x="8388350" y="4654550"/>
            <a:chExt cx="723900" cy="723900"/>
          </a:xfrm>
        </p:grpSpPr>
        <p:sp>
          <p:nvSpPr>
            <p:cNvPr id="37" name="Oval 26">
              <a:extLst>
                <a:ext uri="{FF2B5EF4-FFF2-40B4-BE49-F238E27FC236}">
                  <a16:creationId xmlns:a16="http://schemas.microsoft.com/office/drawing/2014/main" id="{CE93249A-CCFA-4DE0-A986-1BA4638134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88350" y="4654550"/>
              <a:ext cx="723900" cy="7239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lIns="91440" tIns="45720" rIns="91440" bIns="45720"/>
            <a:lstStyle/>
            <a:p>
              <a:pPr>
                <a:defRPr/>
              </a:pPr>
              <a:endParaRPr lang="ru-RU" sz="140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8" name="Freeform 27">
              <a:extLst>
                <a:ext uri="{FF2B5EF4-FFF2-40B4-BE49-F238E27FC236}">
                  <a16:creationId xmlns:a16="http://schemas.microsoft.com/office/drawing/2014/main" id="{4ECBB169-00CC-4DD7-848D-8893A732A6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06765" y="4873507"/>
              <a:ext cx="480366" cy="384293"/>
            </a:xfrm>
            <a:custGeom>
              <a:avLst/>
              <a:gdLst>
                <a:gd name="T0" fmla="*/ 300 w 583"/>
                <a:gd name="T1" fmla="*/ 298 h 468"/>
                <a:gd name="T2" fmla="*/ 18 w 583"/>
                <a:gd name="T3" fmla="*/ 259 h 468"/>
                <a:gd name="T4" fmla="*/ 16 w 583"/>
                <a:gd name="T5" fmla="*/ 262 h 468"/>
                <a:gd name="T6" fmla="*/ 296 w 583"/>
                <a:gd name="T7" fmla="*/ 468 h 468"/>
                <a:gd name="T8" fmla="*/ 576 w 583"/>
                <a:gd name="T9" fmla="*/ 258 h 468"/>
                <a:gd name="T10" fmla="*/ 573 w 583"/>
                <a:gd name="T11" fmla="*/ 256 h 468"/>
                <a:gd name="T12" fmla="*/ 300 w 583"/>
                <a:gd name="T13" fmla="*/ 298 h 468"/>
                <a:gd name="T14" fmla="*/ 580 w 583"/>
                <a:gd name="T15" fmla="*/ 105 h 468"/>
                <a:gd name="T16" fmla="*/ 514 w 583"/>
                <a:gd name="T17" fmla="*/ 57 h 468"/>
                <a:gd name="T18" fmla="*/ 449 w 583"/>
                <a:gd name="T19" fmla="*/ 8 h 468"/>
                <a:gd name="T20" fmla="*/ 523 w 583"/>
                <a:gd name="T21" fmla="*/ 45 h 468"/>
                <a:gd name="T22" fmla="*/ 580 w 583"/>
                <a:gd name="T23" fmla="*/ 105 h 468"/>
                <a:gd name="T24" fmla="*/ 3 w 583"/>
                <a:gd name="T25" fmla="*/ 105 h 468"/>
                <a:gd name="T26" fmla="*/ 70 w 583"/>
                <a:gd name="T27" fmla="*/ 57 h 468"/>
                <a:gd name="T28" fmla="*/ 135 w 583"/>
                <a:gd name="T29" fmla="*/ 8 h 468"/>
                <a:gd name="T30" fmla="*/ 61 w 583"/>
                <a:gd name="T31" fmla="*/ 45 h 468"/>
                <a:gd name="T32" fmla="*/ 3 w 583"/>
                <a:gd name="T33" fmla="*/ 105 h 468"/>
                <a:gd name="T34" fmla="*/ 159 w 583"/>
                <a:gd name="T35" fmla="*/ 127 h 468"/>
                <a:gd name="T36" fmla="*/ 81 w 583"/>
                <a:gd name="T37" fmla="*/ 149 h 468"/>
                <a:gd name="T38" fmla="*/ 78 w 583"/>
                <a:gd name="T39" fmla="*/ 147 h 468"/>
                <a:gd name="T40" fmla="*/ 159 w 583"/>
                <a:gd name="T41" fmla="*/ 89 h 468"/>
                <a:gd name="T42" fmla="*/ 240 w 583"/>
                <a:gd name="T43" fmla="*/ 147 h 468"/>
                <a:gd name="T44" fmla="*/ 238 w 583"/>
                <a:gd name="T45" fmla="*/ 149 h 468"/>
                <a:gd name="T46" fmla="*/ 159 w 583"/>
                <a:gd name="T47" fmla="*/ 127 h 468"/>
                <a:gd name="T48" fmla="*/ 424 w 583"/>
                <a:gd name="T49" fmla="*/ 127 h 468"/>
                <a:gd name="T50" fmla="*/ 346 w 583"/>
                <a:gd name="T51" fmla="*/ 149 h 468"/>
                <a:gd name="T52" fmla="*/ 343 w 583"/>
                <a:gd name="T53" fmla="*/ 147 h 468"/>
                <a:gd name="T54" fmla="*/ 424 w 583"/>
                <a:gd name="T55" fmla="*/ 89 h 468"/>
                <a:gd name="T56" fmla="*/ 505 w 583"/>
                <a:gd name="T57" fmla="*/ 147 h 468"/>
                <a:gd name="T58" fmla="*/ 503 w 583"/>
                <a:gd name="T59" fmla="*/ 149 h 468"/>
                <a:gd name="T60" fmla="*/ 424 w 583"/>
                <a:gd name="T61" fmla="*/ 127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83" h="468">
                  <a:moveTo>
                    <a:pt x="300" y="298"/>
                  </a:moveTo>
                  <a:cubicBezTo>
                    <a:pt x="172" y="298"/>
                    <a:pt x="79" y="281"/>
                    <a:pt x="18" y="259"/>
                  </a:cubicBezTo>
                  <a:cubicBezTo>
                    <a:pt x="17" y="259"/>
                    <a:pt x="16" y="260"/>
                    <a:pt x="16" y="262"/>
                  </a:cubicBezTo>
                  <a:cubicBezTo>
                    <a:pt x="30" y="377"/>
                    <a:pt x="150" y="468"/>
                    <a:pt x="296" y="468"/>
                  </a:cubicBezTo>
                  <a:cubicBezTo>
                    <a:pt x="443" y="468"/>
                    <a:pt x="563" y="376"/>
                    <a:pt x="576" y="258"/>
                  </a:cubicBezTo>
                  <a:cubicBezTo>
                    <a:pt x="576" y="257"/>
                    <a:pt x="574" y="256"/>
                    <a:pt x="573" y="256"/>
                  </a:cubicBezTo>
                  <a:cubicBezTo>
                    <a:pt x="515" y="281"/>
                    <a:pt x="431" y="298"/>
                    <a:pt x="300" y="298"/>
                  </a:cubicBezTo>
                  <a:close/>
                  <a:moveTo>
                    <a:pt x="580" y="105"/>
                  </a:moveTo>
                  <a:cubicBezTo>
                    <a:pt x="577" y="108"/>
                    <a:pt x="550" y="84"/>
                    <a:pt x="514" y="57"/>
                  </a:cubicBezTo>
                  <a:cubicBezTo>
                    <a:pt x="478" y="31"/>
                    <a:pt x="447" y="12"/>
                    <a:pt x="449" y="8"/>
                  </a:cubicBezTo>
                  <a:cubicBezTo>
                    <a:pt x="451" y="4"/>
                    <a:pt x="469" y="0"/>
                    <a:pt x="523" y="45"/>
                  </a:cubicBezTo>
                  <a:cubicBezTo>
                    <a:pt x="559" y="75"/>
                    <a:pt x="583" y="103"/>
                    <a:pt x="580" y="105"/>
                  </a:cubicBezTo>
                  <a:close/>
                  <a:moveTo>
                    <a:pt x="3" y="105"/>
                  </a:moveTo>
                  <a:cubicBezTo>
                    <a:pt x="6" y="108"/>
                    <a:pt x="34" y="84"/>
                    <a:pt x="70" y="57"/>
                  </a:cubicBezTo>
                  <a:cubicBezTo>
                    <a:pt x="105" y="31"/>
                    <a:pt x="137" y="12"/>
                    <a:pt x="135" y="8"/>
                  </a:cubicBezTo>
                  <a:cubicBezTo>
                    <a:pt x="133" y="4"/>
                    <a:pt x="115" y="0"/>
                    <a:pt x="61" y="45"/>
                  </a:cubicBezTo>
                  <a:cubicBezTo>
                    <a:pt x="25" y="75"/>
                    <a:pt x="0" y="103"/>
                    <a:pt x="3" y="105"/>
                  </a:cubicBezTo>
                  <a:close/>
                  <a:moveTo>
                    <a:pt x="159" y="127"/>
                  </a:moveTo>
                  <a:cubicBezTo>
                    <a:pt x="130" y="127"/>
                    <a:pt x="103" y="134"/>
                    <a:pt x="81" y="149"/>
                  </a:cubicBezTo>
                  <a:cubicBezTo>
                    <a:pt x="79" y="150"/>
                    <a:pt x="78" y="149"/>
                    <a:pt x="78" y="147"/>
                  </a:cubicBezTo>
                  <a:cubicBezTo>
                    <a:pt x="96" y="110"/>
                    <a:pt x="125" y="89"/>
                    <a:pt x="159" y="89"/>
                  </a:cubicBezTo>
                  <a:cubicBezTo>
                    <a:pt x="193" y="89"/>
                    <a:pt x="223" y="110"/>
                    <a:pt x="240" y="147"/>
                  </a:cubicBezTo>
                  <a:cubicBezTo>
                    <a:pt x="241" y="149"/>
                    <a:pt x="239" y="150"/>
                    <a:pt x="238" y="149"/>
                  </a:cubicBezTo>
                  <a:cubicBezTo>
                    <a:pt x="216" y="134"/>
                    <a:pt x="189" y="127"/>
                    <a:pt x="159" y="127"/>
                  </a:cubicBezTo>
                  <a:close/>
                  <a:moveTo>
                    <a:pt x="424" y="127"/>
                  </a:moveTo>
                  <a:cubicBezTo>
                    <a:pt x="395" y="127"/>
                    <a:pt x="368" y="134"/>
                    <a:pt x="346" y="149"/>
                  </a:cubicBezTo>
                  <a:cubicBezTo>
                    <a:pt x="344" y="150"/>
                    <a:pt x="343" y="149"/>
                    <a:pt x="343" y="147"/>
                  </a:cubicBezTo>
                  <a:cubicBezTo>
                    <a:pt x="361" y="110"/>
                    <a:pt x="390" y="89"/>
                    <a:pt x="424" y="89"/>
                  </a:cubicBezTo>
                  <a:cubicBezTo>
                    <a:pt x="458" y="89"/>
                    <a:pt x="488" y="110"/>
                    <a:pt x="505" y="147"/>
                  </a:cubicBezTo>
                  <a:cubicBezTo>
                    <a:pt x="506" y="149"/>
                    <a:pt x="504" y="150"/>
                    <a:pt x="503" y="149"/>
                  </a:cubicBezTo>
                  <a:cubicBezTo>
                    <a:pt x="481" y="134"/>
                    <a:pt x="454" y="127"/>
                    <a:pt x="424" y="127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lIns="91440" tIns="45720" rIns="91440" bIns="45720"/>
            <a:lstStyle/>
            <a:p>
              <a:pPr>
                <a:defRPr/>
              </a:pPr>
              <a:endParaRPr lang="ru-RU" sz="140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7220" name="Группа 50"/>
          <p:cNvGrpSpPr>
            <a:grpSpLocks/>
          </p:cNvGrpSpPr>
          <p:nvPr/>
        </p:nvGrpSpPr>
        <p:grpSpPr bwMode="auto">
          <a:xfrm>
            <a:off x="1205527" y="2946632"/>
            <a:ext cx="1898015" cy="2541550"/>
            <a:chOff x="1049945" y="2136317"/>
            <a:chExt cx="1898174" cy="2645727"/>
          </a:xfrm>
        </p:grpSpPr>
        <p:sp>
          <p:nvSpPr>
            <p:cNvPr id="48" name="Freeform 31">
              <a:extLst>
                <a:ext uri="{FF2B5EF4-FFF2-40B4-BE49-F238E27FC236}">
                  <a16:creationId xmlns:a16="http://schemas.microsoft.com/office/drawing/2014/main" id="{99910E80-D0E7-4CEA-8A64-42958CF893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49945" y="2136317"/>
              <a:ext cx="1898174" cy="2645727"/>
            </a:xfrm>
            <a:custGeom>
              <a:avLst/>
              <a:gdLst>
                <a:gd name="T0" fmla="*/ 1071 w 1537"/>
                <a:gd name="T1" fmla="*/ 69 h 2171"/>
                <a:gd name="T2" fmla="*/ 0 w 1537"/>
                <a:gd name="T3" fmla="*/ 513 h 2171"/>
                <a:gd name="T4" fmla="*/ 884 w 1537"/>
                <a:gd name="T5" fmla="*/ 399 h 2171"/>
                <a:gd name="T6" fmla="*/ 774 w 1537"/>
                <a:gd name="T7" fmla="*/ 407 h 2171"/>
                <a:gd name="T8" fmla="*/ 1257 w 1537"/>
                <a:gd name="T9" fmla="*/ 341 h 2171"/>
                <a:gd name="T10" fmla="*/ 1326 w 1537"/>
                <a:gd name="T11" fmla="*/ 341 h 2171"/>
                <a:gd name="T12" fmla="*/ 1327 w 1537"/>
                <a:gd name="T13" fmla="*/ 418 h 2171"/>
                <a:gd name="T14" fmla="*/ 226 w 1537"/>
                <a:gd name="T15" fmla="*/ 418 h 2171"/>
                <a:gd name="T16" fmla="*/ 226 w 1537"/>
                <a:gd name="T17" fmla="*/ 341 h 2171"/>
                <a:gd name="T18" fmla="*/ 297 w 1537"/>
                <a:gd name="T19" fmla="*/ 297 h 2171"/>
                <a:gd name="T20" fmla="*/ 624 w 1537"/>
                <a:gd name="T21" fmla="*/ 403 h 2171"/>
                <a:gd name="T22" fmla="*/ 1105 w 1537"/>
                <a:gd name="T23" fmla="*/ 1740 h 2171"/>
                <a:gd name="T24" fmla="*/ 1220 w 1537"/>
                <a:gd name="T25" fmla="*/ 1743 h 2171"/>
                <a:gd name="T26" fmla="*/ 1318 w 1537"/>
                <a:gd name="T27" fmla="*/ 1752 h 2171"/>
                <a:gd name="T28" fmla="*/ 1223 w 1537"/>
                <a:gd name="T29" fmla="*/ 1983 h 2171"/>
                <a:gd name="T30" fmla="*/ 990 w 1537"/>
                <a:gd name="T31" fmla="*/ 1691 h 2171"/>
                <a:gd name="T32" fmla="*/ 925 w 1537"/>
                <a:gd name="T33" fmla="*/ 1741 h 2171"/>
                <a:gd name="T34" fmla="*/ 823 w 1537"/>
                <a:gd name="T35" fmla="*/ 1741 h 2171"/>
                <a:gd name="T36" fmla="*/ 632 w 1537"/>
                <a:gd name="T37" fmla="*/ 1664 h 2171"/>
                <a:gd name="T38" fmla="*/ 637 w 1537"/>
                <a:gd name="T39" fmla="*/ 1743 h 2171"/>
                <a:gd name="T40" fmla="*/ 639 w 1537"/>
                <a:gd name="T41" fmla="*/ 1752 h 2171"/>
                <a:gd name="T42" fmla="*/ 530 w 1537"/>
                <a:gd name="T43" fmla="*/ 1864 h 2171"/>
                <a:gd name="T44" fmla="*/ 350 w 1537"/>
                <a:gd name="T45" fmla="*/ 1743 h 2171"/>
                <a:gd name="T46" fmla="*/ 338 w 1537"/>
                <a:gd name="T47" fmla="*/ 1677 h 2171"/>
                <a:gd name="T48" fmla="*/ 331 w 1537"/>
                <a:gd name="T49" fmla="*/ 1743 h 2171"/>
                <a:gd name="T50" fmla="*/ 451 w 1537"/>
                <a:gd name="T51" fmla="*/ 1300 h 2171"/>
                <a:gd name="T52" fmla="*/ 345 w 1537"/>
                <a:gd name="T53" fmla="*/ 1303 h 2171"/>
                <a:gd name="T54" fmla="*/ 337 w 1537"/>
                <a:gd name="T55" fmla="*/ 1311 h 2171"/>
                <a:gd name="T56" fmla="*/ 238 w 1537"/>
                <a:gd name="T57" fmla="*/ 1543 h 2171"/>
                <a:gd name="T58" fmla="*/ 735 w 1537"/>
                <a:gd name="T59" fmla="*/ 1305 h 2171"/>
                <a:gd name="T60" fmla="*/ 575 w 1537"/>
                <a:gd name="T61" fmla="*/ 1252 h 2171"/>
                <a:gd name="T62" fmla="*/ 570 w 1537"/>
                <a:gd name="T63" fmla="*/ 1254 h 2171"/>
                <a:gd name="T64" fmla="*/ 640 w 1537"/>
                <a:gd name="T65" fmla="*/ 1545 h 2171"/>
                <a:gd name="T66" fmla="*/ 986 w 1537"/>
                <a:gd name="T67" fmla="*/ 1251 h 2171"/>
                <a:gd name="T68" fmla="*/ 823 w 1537"/>
                <a:gd name="T69" fmla="*/ 1311 h 2171"/>
                <a:gd name="T70" fmla="*/ 922 w 1537"/>
                <a:gd name="T71" fmla="*/ 1543 h 2171"/>
                <a:gd name="T72" fmla="*/ 1327 w 1537"/>
                <a:gd name="T73" fmla="*/ 1300 h 2171"/>
                <a:gd name="T74" fmla="*/ 1214 w 1537"/>
                <a:gd name="T75" fmla="*/ 1303 h 2171"/>
                <a:gd name="T76" fmla="*/ 1223 w 1537"/>
                <a:gd name="T77" fmla="*/ 1311 h 2171"/>
                <a:gd name="T78" fmla="*/ 1318 w 1537"/>
                <a:gd name="T79" fmla="*/ 1543 h 2171"/>
                <a:gd name="T80" fmla="*/ 1220 w 1537"/>
                <a:gd name="T81" fmla="*/ 796 h 2171"/>
                <a:gd name="T82" fmla="*/ 1114 w 1537"/>
                <a:gd name="T83" fmla="*/ 977 h 2171"/>
                <a:gd name="T84" fmla="*/ 1213 w 1537"/>
                <a:gd name="T85" fmla="*/ 983 h 2171"/>
                <a:gd name="T86" fmla="*/ 1036 w 1537"/>
                <a:gd name="T87" fmla="*/ 1117 h 2171"/>
                <a:gd name="T88" fmla="*/ 924 w 1537"/>
                <a:gd name="T89" fmla="*/ 864 h 2171"/>
                <a:gd name="T90" fmla="*/ 932 w 1537"/>
                <a:gd name="T91" fmla="*/ 978 h 2171"/>
                <a:gd name="T92" fmla="*/ 1028 w 1537"/>
                <a:gd name="T93" fmla="*/ 984 h 2171"/>
                <a:gd name="T94" fmla="*/ 637 w 1537"/>
                <a:gd name="T95" fmla="*/ 866 h 2171"/>
                <a:gd name="T96" fmla="*/ 630 w 1537"/>
                <a:gd name="T97" fmla="*/ 980 h 2171"/>
                <a:gd name="T98" fmla="*/ 531 w 1537"/>
                <a:gd name="T99" fmla="*/ 986 h 2171"/>
                <a:gd name="T100" fmla="*/ 230 w 1537"/>
                <a:gd name="T101" fmla="*/ 1122 h 2171"/>
                <a:gd name="T102" fmla="*/ 339 w 1537"/>
                <a:gd name="T103" fmla="*/ 869 h 2171"/>
                <a:gd name="T104" fmla="*/ 348 w 1537"/>
                <a:gd name="T105" fmla="*/ 983 h 2171"/>
                <a:gd name="T106" fmla="*/ 443 w 1537"/>
                <a:gd name="T107" fmla="*/ 990 h 2171"/>
                <a:gd name="T108" fmla="*/ 341 w 1537"/>
                <a:gd name="T109" fmla="*/ 1212 h 2171"/>
                <a:gd name="T110" fmla="*/ 513 w 1537"/>
                <a:gd name="T111" fmla="*/ 1731 h 2171"/>
                <a:gd name="T112" fmla="*/ 514 w 1537"/>
                <a:gd name="T113" fmla="*/ 1131 h 2171"/>
                <a:gd name="T114" fmla="*/ 1044 w 1537"/>
                <a:gd name="T115" fmla="*/ 1569 h 2171"/>
                <a:gd name="T116" fmla="*/ 1044 w 1537"/>
                <a:gd name="T117" fmla="*/ 1131 h 2171"/>
                <a:gd name="T118" fmla="*/ 1336 w 1537"/>
                <a:gd name="T119" fmla="*/ 1294 h 2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537" h="2171">
                  <a:moveTo>
                    <a:pt x="44" y="624"/>
                  </a:moveTo>
                  <a:lnTo>
                    <a:pt x="44" y="2171"/>
                  </a:lnTo>
                  <a:lnTo>
                    <a:pt x="1489" y="2171"/>
                  </a:lnTo>
                  <a:lnTo>
                    <a:pt x="1489" y="624"/>
                  </a:lnTo>
                  <a:lnTo>
                    <a:pt x="44" y="624"/>
                  </a:lnTo>
                  <a:close/>
                  <a:moveTo>
                    <a:pt x="1492" y="513"/>
                  </a:moveTo>
                  <a:lnTo>
                    <a:pt x="1349" y="228"/>
                  </a:lnTo>
                  <a:lnTo>
                    <a:pt x="1318" y="228"/>
                  </a:lnTo>
                  <a:lnTo>
                    <a:pt x="1318" y="146"/>
                  </a:lnTo>
                  <a:lnTo>
                    <a:pt x="1172" y="146"/>
                  </a:lnTo>
                  <a:lnTo>
                    <a:pt x="1172" y="228"/>
                  </a:lnTo>
                  <a:lnTo>
                    <a:pt x="1151" y="228"/>
                  </a:lnTo>
                  <a:lnTo>
                    <a:pt x="1071" y="69"/>
                  </a:lnTo>
                  <a:lnTo>
                    <a:pt x="610" y="69"/>
                  </a:lnTo>
                  <a:lnTo>
                    <a:pt x="610" y="0"/>
                  </a:lnTo>
                  <a:lnTo>
                    <a:pt x="529" y="0"/>
                  </a:lnTo>
                  <a:lnTo>
                    <a:pt x="529" y="69"/>
                  </a:lnTo>
                  <a:lnTo>
                    <a:pt x="473" y="69"/>
                  </a:lnTo>
                  <a:lnTo>
                    <a:pt x="393" y="228"/>
                  </a:lnTo>
                  <a:lnTo>
                    <a:pt x="365" y="228"/>
                  </a:lnTo>
                  <a:lnTo>
                    <a:pt x="365" y="146"/>
                  </a:lnTo>
                  <a:lnTo>
                    <a:pt x="219" y="146"/>
                  </a:lnTo>
                  <a:lnTo>
                    <a:pt x="219" y="228"/>
                  </a:lnTo>
                  <a:lnTo>
                    <a:pt x="195" y="228"/>
                  </a:lnTo>
                  <a:lnTo>
                    <a:pt x="52" y="513"/>
                  </a:lnTo>
                  <a:lnTo>
                    <a:pt x="0" y="513"/>
                  </a:lnTo>
                  <a:lnTo>
                    <a:pt x="0" y="607"/>
                  </a:lnTo>
                  <a:lnTo>
                    <a:pt x="1537" y="607"/>
                  </a:lnTo>
                  <a:lnTo>
                    <a:pt x="1537" y="513"/>
                  </a:lnTo>
                  <a:lnTo>
                    <a:pt x="1492" y="513"/>
                  </a:lnTo>
                  <a:close/>
                  <a:moveTo>
                    <a:pt x="895" y="403"/>
                  </a:moveTo>
                  <a:cubicBezTo>
                    <a:pt x="895" y="354"/>
                    <a:pt x="839" y="314"/>
                    <a:pt x="770" y="314"/>
                  </a:cubicBezTo>
                  <a:cubicBezTo>
                    <a:pt x="701" y="314"/>
                    <a:pt x="645" y="354"/>
                    <a:pt x="645" y="403"/>
                  </a:cubicBezTo>
                  <a:cubicBezTo>
                    <a:pt x="645" y="451"/>
                    <a:pt x="699" y="490"/>
                    <a:pt x="767" y="491"/>
                  </a:cubicBezTo>
                  <a:lnTo>
                    <a:pt x="767" y="492"/>
                  </a:lnTo>
                  <a:lnTo>
                    <a:pt x="774" y="492"/>
                  </a:lnTo>
                  <a:lnTo>
                    <a:pt x="774" y="491"/>
                  </a:lnTo>
                  <a:cubicBezTo>
                    <a:pt x="841" y="490"/>
                    <a:pt x="895" y="451"/>
                    <a:pt x="895" y="403"/>
                  </a:cubicBezTo>
                  <a:close/>
                  <a:moveTo>
                    <a:pt x="884" y="399"/>
                  </a:moveTo>
                  <a:lnTo>
                    <a:pt x="774" y="399"/>
                  </a:lnTo>
                  <a:lnTo>
                    <a:pt x="774" y="322"/>
                  </a:lnTo>
                  <a:cubicBezTo>
                    <a:pt x="833" y="323"/>
                    <a:pt x="881" y="356"/>
                    <a:pt x="884" y="399"/>
                  </a:cubicBezTo>
                  <a:close/>
                  <a:moveTo>
                    <a:pt x="767" y="322"/>
                  </a:moveTo>
                  <a:lnTo>
                    <a:pt x="767" y="399"/>
                  </a:lnTo>
                  <a:lnTo>
                    <a:pt x="656" y="399"/>
                  </a:lnTo>
                  <a:cubicBezTo>
                    <a:pt x="659" y="356"/>
                    <a:pt x="707" y="323"/>
                    <a:pt x="767" y="322"/>
                  </a:cubicBezTo>
                  <a:close/>
                  <a:moveTo>
                    <a:pt x="656" y="407"/>
                  </a:moveTo>
                  <a:lnTo>
                    <a:pt x="767" y="407"/>
                  </a:lnTo>
                  <a:lnTo>
                    <a:pt x="767" y="484"/>
                  </a:lnTo>
                  <a:cubicBezTo>
                    <a:pt x="707" y="482"/>
                    <a:pt x="659" y="449"/>
                    <a:pt x="656" y="407"/>
                  </a:cubicBezTo>
                  <a:close/>
                  <a:moveTo>
                    <a:pt x="774" y="484"/>
                  </a:moveTo>
                  <a:lnTo>
                    <a:pt x="774" y="407"/>
                  </a:lnTo>
                  <a:lnTo>
                    <a:pt x="884" y="407"/>
                  </a:lnTo>
                  <a:cubicBezTo>
                    <a:pt x="881" y="449"/>
                    <a:pt x="833" y="482"/>
                    <a:pt x="774" y="484"/>
                  </a:cubicBezTo>
                  <a:close/>
                  <a:moveTo>
                    <a:pt x="299" y="418"/>
                  </a:moveTo>
                  <a:lnTo>
                    <a:pt x="363" y="418"/>
                  </a:lnTo>
                  <a:lnTo>
                    <a:pt x="363" y="347"/>
                  </a:lnTo>
                  <a:lnTo>
                    <a:pt x="299" y="347"/>
                  </a:lnTo>
                  <a:lnTo>
                    <a:pt x="299" y="418"/>
                  </a:lnTo>
                  <a:close/>
                  <a:moveTo>
                    <a:pt x="1216" y="307"/>
                  </a:moveTo>
                  <a:cubicBezTo>
                    <a:pt x="1201" y="315"/>
                    <a:pt x="1191" y="327"/>
                    <a:pt x="1190" y="341"/>
                  </a:cubicBezTo>
                  <a:lnTo>
                    <a:pt x="1253" y="341"/>
                  </a:lnTo>
                  <a:lnTo>
                    <a:pt x="1216" y="307"/>
                  </a:lnTo>
                  <a:close/>
                  <a:moveTo>
                    <a:pt x="1257" y="341"/>
                  </a:moveTo>
                  <a:lnTo>
                    <a:pt x="1257" y="341"/>
                  </a:lnTo>
                  <a:lnTo>
                    <a:pt x="1258" y="341"/>
                  </a:lnTo>
                  <a:lnTo>
                    <a:pt x="1258" y="297"/>
                  </a:lnTo>
                  <a:cubicBezTo>
                    <a:pt x="1243" y="297"/>
                    <a:pt x="1230" y="300"/>
                    <a:pt x="1219" y="305"/>
                  </a:cubicBezTo>
                  <a:lnTo>
                    <a:pt x="1257" y="341"/>
                  </a:lnTo>
                  <a:close/>
                  <a:moveTo>
                    <a:pt x="1190" y="418"/>
                  </a:moveTo>
                  <a:lnTo>
                    <a:pt x="1256" y="418"/>
                  </a:lnTo>
                  <a:lnTo>
                    <a:pt x="1256" y="347"/>
                  </a:lnTo>
                  <a:lnTo>
                    <a:pt x="1189" y="347"/>
                  </a:lnTo>
                  <a:lnTo>
                    <a:pt x="1190" y="418"/>
                  </a:lnTo>
                  <a:close/>
                  <a:moveTo>
                    <a:pt x="1326" y="341"/>
                  </a:moveTo>
                  <a:cubicBezTo>
                    <a:pt x="1325" y="328"/>
                    <a:pt x="1316" y="316"/>
                    <a:pt x="1302" y="307"/>
                  </a:cubicBezTo>
                  <a:lnTo>
                    <a:pt x="1266" y="341"/>
                  </a:lnTo>
                  <a:lnTo>
                    <a:pt x="1326" y="341"/>
                  </a:lnTo>
                  <a:close/>
                  <a:moveTo>
                    <a:pt x="1190" y="502"/>
                  </a:moveTo>
                  <a:lnTo>
                    <a:pt x="1256" y="502"/>
                  </a:lnTo>
                  <a:lnTo>
                    <a:pt x="1256" y="422"/>
                  </a:lnTo>
                  <a:lnTo>
                    <a:pt x="1190" y="422"/>
                  </a:lnTo>
                  <a:lnTo>
                    <a:pt x="1190" y="502"/>
                  </a:lnTo>
                  <a:close/>
                  <a:moveTo>
                    <a:pt x="1299" y="306"/>
                  </a:moveTo>
                  <a:cubicBezTo>
                    <a:pt x="1288" y="300"/>
                    <a:pt x="1275" y="297"/>
                    <a:pt x="1261" y="297"/>
                  </a:cubicBezTo>
                  <a:lnTo>
                    <a:pt x="1261" y="341"/>
                  </a:lnTo>
                  <a:lnTo>
                    <a:pt x="1261" y="341"/>
                  </a:lnTo>
                  <a:lnTo>
                    <a:pt x="1261" y="341"/>
                  </a:lnTo>
                  <a:lnTo>
                    <a:pt x="1299" y="306"/>
                  </a:lnTo>
                  <a:close/>
                  <a:moveTo>
                    <a:pt x="1263" y="418"/>
                  </a:moveTo>
                  <a:lnTo>
                    <a:pt x="1327" y="418"/>
                  </a:lnTo>
                  <a:lnTo>
                    <a:pt x="1327" y="347"/>
                  </a:lnTo>
                  <a:lnTo>
                    <a:pt x="1263" y="347"/>
                  </a:lnTo>
                  <a:lnTo>
                    <a:pt x="1263" y="418"/>
                  </a:lnTo>
                  <a:close/>
                  <a:moveTo>
                    <a:pt x="1263" y="502"/>
                  </a:moveTo>
                  <a:lnTo>
                    <a:pt x="1327" y="502"/>
                  </a:lnTo>
                  <a:lnTo>
                    <a:pt x="1327" y="422"/>
                  </a:lnTo>
                  <a:lnTo>
                    <a:pt x="1263" y="422"/>
                  </a:lnTo>
                  <a:lnTo>
                    <a:pt x="1263" y="502"/>
                  </a:lnTo>
                  <a:close/>
                  <a:moveTo>
                    <a:pt x="226" y="418"/>
                  </a:moveTo>
                  <a:lnTo>
                    <a:pt x="293" y="418"/>
                  </a:lnTo>
                  <a:lnTo>
                    <a:pt x="293" y="347"/>
                  </a:lnTo>
                  <a:lnTo>
                    <a:pt x="226" y="347"/>
                  </a:lnTo>
                  <a:lnTo>
                    <a:pt x="226" y="418"/>
                  </a:lnTo>
                  <a:close/>
                  <a:moveTo>
                    <a:pt x="294" y="341"/>
                  </a:moveTo>
                  <a:lnTo>
                    <a:pt x="294" y="341"/>
                  </a:lnTo>
                  <a:lnTo>
                    <a:pt x="294" y="341"/>
                  </a:lnTo>
                  <a:lnTo>
                    <a:pt x="294" y="297"/>
                  </a:lnTo>
                  <a:cubicBezTo>
                    <a:pt x="280" y="297"/>
                    <a:pt x="266" y="300"/>
                    <a:pt x="255" y="305"/>
                  </a:cubicBezTo>
                  <a:lnTo>
                    <a:pt x="294" y="341"/>
                  </a:lnTo>
                  <a:close/>
                  <a:moveTo>
                    <a:pt x="226" y="502"/>
                  </a:moveTo>
                  <a:lnTo>
                    <a:pt x="293" y="502"/>
                  </a:lnTo>
                  <a:lnTo>
                    <a:pt x="293" y="422"/>
                  </a:lnTo>
                  <a:lnTo>
                    <a:pt x="226" y="422"/>
                  </a:lnTo>
                  <a:lnTo>
                    <a:pt x="226" y="502"/>
                  </a:lnTo>
                  <a:close/>
                  <a:moveTo>
                    <a:pt x="252" y="307"/>
                  </a:moveTo>
                  <a:cubicBezTo>
                    <a:pt x="238" y="315"/>
                    <a:pt x="228" y="327"/>
                    <a:pt x="226" y="341"/>
                  </a:cubicBezTo>
                  <a:lnTo>
                    <a:pt x="289" y="341"/>
                  </a:lnTo>
                  <a:lnTo>
                    <a:pt x="252" y="307"/>
                  </a:lnTo>
                  <a:close/>
                  <a:moveTo>
                    <a:pt x="363" y="341"/>
                  </a:moveTo>
                  <a:cubicBezTo>
                    <a:pt x="361" y="328"/>
                    <a:pt x="352" y="316"/>
                    <a:pt x="338" y="307"/>
                  </a:cubicBezTo>
                  <a:lnTo>
                    <a:pt x="302" y="341"/>
                  </a:lnTo>
                  <a:lnTo>
                    <a:pt x="363" y="341"/>
                  </a:lnTo>
                  <a:close/>
                  <a:moveTo>
                    <a:pt x="299" y="502"/>
                  </a:moveTo>
                  <a:lnTo>
                    <a:pt x="363" y="502"/>
                  </a:lnTo>
                  <a:lnTo>
                    <a:pt x="363" y="422"/>
                  </a:lnTo>
                  <a:lnTo>
                    <a:pt x="299" y="422"/>
                  </a:lnTo>
                  <a:lnTo>
                    <a:pt x="299" y="502"/>
                  </a:lnTo>
                  <a:close/>
                  <a:moveTo>
                    <a:pt x="335" y="306"/>
                  </a:moveTo>
                  <a:cubicBezTo>
                    <a:pt x="324" y="300"/>
                    <a:pt x="311" y="297"/>
                    <a:pt x="297" y="297"/>
                  </a:cubicBezTo>
                  <a:lnTo>
                    <a:pt x="297" y="341"/>
                  </a:lnTo>
                  <a:lnTo>
                    <a:pt x="298" y="341"/>
                  </a:lnTo>
                  <a:lnTo>
                    <a:pt x="298" y="341"/>
                  </a:lnTo>
                  <a:lnTo>
                    <a:pt x="335" y="306"/>
                  </a:lnTo>
                  <a:close/>
                  <a:moveTo>
                    <a:pt x="369" y="511"/>
                  </a:moveTo>
                  <a:lnTo>
                    <a:pt x="221" y="511"/>
                  </a:lnTo>
                  <a:lnTo>
                    <a:pt x="220" y="339"/>
                  </a:lnTo>
                  <a:cubicBezTo>
                    <a:pt x="221" y="311"/>
                    <a:pt x="254" y="288"/>
                    <a:pt x="295" y="288"/>
                  </a:cubicBezTo>
                  <a:cubicBezTo>
                    <a:pt x="335" y="288"/>
                    <a:pt x="368" y="311"/>
                    <a:pt x="369" y="339"/>
                  </a:cubicBezTo>
                  <a:lnTo>
                    <a:pt x="369" y="339"/>
                  </a:lnTo>
                  <a:lnTo>
                    <a:pt x="369" y="511"/>
                  </a:lnTo>
                  <a:close/>
                  <a:moveTo>
                    <a:pt x="772" y="495"/>
                  </a:moveTo>
                  <a:cubicBezTo>
                    <a:pt x="690" y="495"/>
                    <a:pt x="624" y="454"/>
                    <a:pt x="624" y="403"/>
                  </a:cubicBezTo>
                  <a:cubicBezTo>
                    <a:pt x="624" y="352"/>
                    <a:pt x="690" y="311"/>
                    <a:pt x="772" y="311"/>
                  </a:cubicBezTo>
                  <a:cubicBezTo>
                    <a:pt x="854" y="311"/>
                    <a:pt x="920" y="352"/>
                    <a:pt x="920" y="403"/>
                  </a:cubicBezTo>
                  <a:cubicBezTo>
                    <a:pt x="920" y="454"/>
                    <a:pt x="854" y="495"/>
                    <a:pt x="772" y="495"/>
                  </a:cubicBezTo>
                  <a:close/>
                  <a:moveTo>
                    <a:pt x="1333" y="511"/>
                  </a:moveTo>
                  <a:lnTo>
                    <a:pt x="1184" y="511"/>
                  </a:lnTo>
                  <a:lnTo>
                    <a:pt x="1184" y="339"/>
                  </a:lnTo>
                  <a:cubicBezTo>
                    <a:pt x="1185" y="311"/>
                    <a:pt x="1218" y="288"/>
                    <a:pt x="1258" y="288"/>
                  </a:cubicBezTo>
                  <a:cubicBezTo>
                    <a:pt x="1298" y="288"/>
                    <a:pt x="1331" y="311"/>
                    <a:pt x="1332" y="339"/>
                  </a:cubicBezTo>
                  <a:lnTo>
                    <a:pt x="1333" y="339"/>
                  </a:lnTo>
                  <a:lnTo>
                    <a:pt x="1333" y="511"/>
                  </a:lnTo>
                  <a:close/>
                  <a:moveTo>
                    <a:pt x="1327" y="1740"/>
                  </a:moveTo>
                  <a:cubicBezTo>
                    <a:pt x="1325" y="1698"/>
                    <a:pt x="1276" y="1664"/>
                    <a:pt x="1216" y="1664"/>
                  </a:cubicBezTo>
                  <a:cubicBezTo>
                    <a:pt x="1156" y="1664"/>
                    <a:pt x="1107" y="1698"/>
                    <a:pt x="1105" y="1740"/>
                  </a:cubicBezTo>
                  <a:lnTo>
                    <a:pt x="1106" y="1996"/>
                  </a:lnTo>
                  <a:lnTo>
                    <a:pt x="1327" y="1996"/>
                  </a:lnTo>
                  <a:lnTo>
                    <a:pt x="1327" y="1740"/>
                  </a:lnTo>
                  <a:close/>
                  <a:moveTo>
                    <a:pt x="1318" y="1743"/>
                  </a:moveTo>
                  <a:lnTo>
                    <a:pt x="1227" y="1743"/>
                  </a:lnTo>
                  <a:lnTo>
                    <a:pt x="1281" y="1693"/>
                  </a:lnTo>
                  <a:cubicBezTo>
                    <a:pt x="1302" y="1705"/>
                    <a:pt x="1316" y="1723"/>
                    <a:pt x="1318" y="1743"/>
                  </a:cubicBezTo>
                  <a:close/>
                  <a:moveTo>
                    <a:pt x="1220" y="1743"/>
                  </a:moveTo>
                  <a:lnTo>
                    <a:pt x="1220" y="1677"/>
                  </a:lnTo>
                  <a:cubicBezTo>
                    <a:pt x="1241" y="1678"/>
                    <a:pt x="1260" y="1683"/>
                    <a:pt x="1276" y="1691"/>
                  </a:cubicBezTo>
                  <a:lnTo>
                    <a:pt x="1221" y="1743"/>
                  </a:lnTo>
                  <a:lnTo>
                    <a:pt x="1221" y="1743"/>
                  </a:lnTo>
                  <a:lnTo>
                    <a:pt x="1220" y="1743"/>
                  </a:lnTo>
                  <a:close/>
                  <a:moveTo>
                    <a:pt x="1215" y="1743"/>
                  </a:moveTo>
                  <a:lnTo>
                    <a:pt x="1214" y="1743"/>
                  </a:lnTo>
                  <a:lnTo>
                    <a:pt x="1214" y="1743"/>
                  </a:lnTo>
                  <a:lnTo>
                    <a:pt x="1158" y="1690"/>
                  </a:lnTo>
                  <a:cubicBezTo>
                    <a:pt x="1174" y="1682"/>
                    <a:pt x="1194" y="1677"/>
                    <a:pt x="1215" y="1677"/>
                  </a:cubicBezTo>
                  <a:lnTo>
                    <a:pt x="1215" y="1743"/>
                  </a:lnTo>
                  <a:close/>
                  <a:moveTo>
                    <a:pt x="1213" y="1752"/>
                  </a:moveTo>
                  <a:lnTo>
                    <a:pt x="1213" y="1857"/>
                  </a:lnTo>
                  <a:lnTo>
                    <a:pt x="1114" y="1857"/>
                  </a:lnTo>
                  <a:lnTo>
                    <a:pt x="1114" y="1752"/>
                  </a:lnTo>
                  <a:lnTo>
                    <a:pt x="1213" y="1752"/>
                  </a:lnTo>
                  <a:close/>
                  <a:moveTo>
                    <a:pt x="1223" y="1752"/>
                  </a:moveTo>
                  <a:lnTo>
                    <a:pt x="1318" y="1752"/>
                  </a:lnTo>
                  <a:lnTo>
                    <a:pt x="1318" y="1857"/>
                  </a:lnTo>
                  <a:lnTo>
                    <a:pt x="1223" y="1857"/>
                  </a:lnTo>
                  <a:lnTo>
                    <a:pt x="1223" y="1752"/>
                  </a:lnTo>
                  <a:close/>
                  <a:moveTo>
                    <a:pt x="1153" y="1692"/>
                  </a:moveTo>
                  <a:lnTo>
                    <a:pt x="1208" y="1743"/>
                  </a:lnTo>
                  <a:lnTo>
                    <a:pt x="1114" y="1743"/>
                  </a:lnTo>
                  <a:cubicBezTo>
                    <a:pt x="1116" y="1723"/>
                    <a:pt x="1131" y="1704"/>
                    <a:pt x="1153" y="1692"/>
                  </a:cubicBezTo>
                  <a:close/>
                  <a:moveTo>
                    <a:pt x="1114" y="1864"/>
                  </a:moveTo>
                  <a:lnTo>
                    <a:pt x="1213" y="1864"/>
                  </a:lnTo>
                  <a:lnTo>
                    <a:pt x="1213" y="1983"/>
                  </a:lnTo>
                  <a:lnTo>
                    <a:pt x="1114" y="1983"/>
                  </a:lnTo>
                  <a:lnTo>
                    <a:pt x="1114" y="1864"/>
                  </a:lnTo>
                  <a:close/>
                  <a:moveTo>
                    <a:pt x="1223" y="1983"/>
                  </a:moveTo>
                  <a:lnTo>
                    <a:pt x="1223" y="1864"/>
                  </a:lnTo>
                  <a:lnTo>
                    <a:pt x="1318" y="1864"/>
                  </a:lnTo>
                  <a:lnTo>
                    <a:pt x="1318" y="1983"/>
                  </a:lnTo>
                  <a:lnTo>
                    <a:pt x="1223" y="1983"/>
                  </a:lnTo>
                  <a:close/>
                  <a:moveTo>
                    <a:pt x="1036" y="1738"/>
                  </a:moveTo>
                  <a:cubicBezTo>
                    <a:pt x="1034" y="1696"/>
                    <a:pt x="985" y="1662"/>
                    <a:pt x="925" y="1662"/>
                  </a:cubicBezTo>
                  <a:cubicBezTo>
                    <a:pt x="865" y="1662"/>
                    <a:pt x="816" y="1696"/>
                    <a:pt x="814" y="1738"/>
                  </a:cubicBezTo>
                  <a:lnTo>
                    <a:pt x="815" y="1993"/>
                  </a:lnTo>
                  <a:lnTo>
                    <a:pt x="1036" y="1994"/>
                  </a:lnTo>
                  <a:lnTo>
                    <a:pt x="1036" y="1738"/>
                  </a:lnTo>
                  <a:close/>
                  <a:moveTo>
                    <a:pt x="1027" y="1741"/>
                  </a:moveTo>
                  <a:lnTo>
                    <a:pt x="936" y="1741"/>
                  </a:lnTo>
                  <a:lnTo>
                    <a:pt x="990" y="1691"/>
                  </a:lnTo>
                  <a:cubicBezTo>
                    <a:pt x="1011" y="1703"/>
                    <a:pt x="1025" y="1721"/>
                    <a:pt x="1027" y="1741"/>
                  </a:cubicBezTo>
                  <a:close/>
                  <a:moveTo>
                    <a:pt x="929" y="1741"/>
                  </a:moveTo>
                  <a:lnTo>
                    <a:pt x="929" y="1675"/>
                  </a:lnTo>
                  <a:cubicBezTo>
                    <a:pt x="950" y="1675"/>
                    <a:pt x="970" y="1680"/>
                    <a:pt x="986" y="1688"/>
                  </a:cubicBezTo>
                  <a:lnTo>
                    <a:pt x="930" y="1741"/>
                  </a:lnTo>
                  <a:lnTo>
                    <a:pt x="930" y="1741"/>
                  </a:lnTo>
                  <a:lnTo>
                    <a:pt x="929" y="1741"/>
                  </a:lnTo>
                  <a:close/>
                  <a:moveTo>
                    <a:pt x="925" y="1741"/>
                  </a:moveTo>
                  <a:lnTo>
                    <a:pt x="924" y="1741"/>
                  </a:lnTo>
                  <a:lnTo>
                    <a:pt x="924" y="1741"/>
                  </a:lnTo>
                  <a:lnTo>
                    <a:pt x="867" y="1688"/>
                  </a:lnTo>
                  <a:cubicBezTo>
                    <a:pt x="883" y="1679"/>
                    <a:pt x="903" y="1675"/>
                    <a:pt x="925" y="1674"/>
                  </a:cubicBezTo>
                  <a:lnTo>
                    <a:pt x="925" y="1741"/>
                  </a:lnTo>
                  <a:close/>
                  <a:moveTo>
                    <a:pt x="922" y="1749"/>
                  </a:moveTo>
                  <a:lnTo>
                    <a:pt x="922" y="1855"/>
                  </a:lnTo>
                  <a:lnTo>
                    <a:pt x="823" y="1855"/>
                  </a:lnTo>
                  <a:lnTo>
                    <a:pt x="823" y="1749"/>
                  </a:lnTo>
                  <a:lnTo>
                    <a:pt x="922" y="1749"/>
                  </a:lnTo>
                  <a:close/>
                  <a:moveTo>
                    <a:pt x="932" y="1749"/>
                  </a:moveTo>
                  <a:lnTo>
                    <a:pt x="1028" y="1749"/>
                  </a:lnTo>
                  <a:lnTo>
                    <a:pt x="1028" y="1855"/>
                  </a:lnTo>
                  <a:lnTo>
                    <a:pt x="932" y="1855"/>
                  </a:lnTo>
                  <a:lnTo>
                    <a:pt x="932" y="1749"/>
                  </a:lnTo>
                  <a:close/>
                  <a:moveTo>
                    <a:pt x="862" y="1690"/>
                  </a:moveTo>
                  <a:lnTo>
                    <a:pt x="917" y="1741"/>
                  </a:lnTo>
                  <a:lnTo>
                    <a:pt x="823" y="1741"/>
                  </a:lnTo>
                  <a:cubicBezTo>
                    <a:pt x="826" y="1720"/>
                    <a:pt x="840" y="1702"/>
                    <a:pt x="862" y="1690"/>
                  </a:cubicBezTo>
                  <a:close/>
                  <a:moveTo>
                    <a:pt x="823" y="1861"/>
                  </a:moveTo>
                  <a:lnTo>
                    <a:pt x="922" y="1861"/>
                  </a:lnTo>
                  <a:lnTo>
                    <a:pt x="922" y="1981"/>
                  </a:lnTo>
                  <a:lnTo>
                    <a:pt x="824" y="1981"/>
                  </a:lnTo>
                  <a:lnTo>
                    <a:pt x="823" y="1861"/>
                  </a:lnTo>
                  <a:close/>
                  <a:moveTo>
                    <a:pt x="932" y="1981"/>
                  </a:moveTo>
                  <a:lnTo>
                    <a:pt x="932" y="1861"/>
                  </a:lnTo>
                  <a:lnTo>
                    <a:pt x="1028" y="1861"/>
                  </a:lnTo>
                  <a:lnTo>
                    <a:pt x="1028" y="1981"/>
                  </a:lnTo>
                  <a:lnTo>
                    <a:pt x="932" y="1981"/>
                  </a:lnTo>
                  <a:close/>
                  <a:moveTo>
                    <a:pt x="743" y="1740"/>
                  </a:moveTo>
                  <a:cubicBezTo>
                    <a:pt x="741" y="1698"/>
                    <a:pt x="692" y="1664"/>
                    <a:pt x="632" y="1664"/>
                  </a:cubicBezTo>
                  <a:cubicBezTo>
                    <a:pt x="572" y="1664"/>
                    <a:pt x="523" y="1698"/>
                    <a:pt x="521" y="1740"/>
                  </a:cubicBezTo>
                  <a:lnTo>
                    <a:pt x="522" y="1996"/>
                  </a:lnTo>
                  <a:lnTo>
                    <a:pt x="743" y="1996"/>
                  </a:lnTo>
                  <a:lnTo>
                    <a:pt x="743" y="1740"/>
                  </a:lnTo>
                  <a:close/>
                  <a:moveTo>
                    <a:pt x="734" y="1743"/>
                  </a:moveTo>
                  <a:lnTo>
                    <a:pt x="643" y="1743"/>
                  </a:lnTo>
                  <a:lnTo>
                    <a:pt x="697" y="1693"/>
                  </a:lnTo>
                  <a:cubicBezTo>
                    <a:pt x="718" y="1705"/>
                    <a:pt x="732" y="1723"/>
                    <a:pt x="734" y="1743"/>
                  </a:cubicBezTo>
                  <a:close/>
                  <a:moveTo>
                    <a:pt x="636" y="1743"/>
                  </a:moveTo>
                  <a:lnTo>
                    <a:pt x="636" y="1677"/>
                  </a:lnTo>
                  <a:cubicBezTo>
                    <a:pt x="657" y="1678"/>
                    <a:pt x="677" y="1683"/>
                    <a:pt x="692" y="1691"/>
                  </a:cubicBezTo>
                  <a:lnTo>
                    <a:pt x="637" y="1743"/>
                  </a:lnTo>
                  <a:lnTo>
                    <a:pt x="637" y="1743"/>
                  </a:lnTo>
                  <a:lnTo>
                    <a:pt x="636" y="1743"/>
                  </a:lnTo>
                  <a:close/>
                  <a:moveTo>
                    <a:pt x="631" y="1743"/>
                  </a:moveTo>
                  <a:lnTo>
                    <a:pt x="630" y="1743"/>
                  </a:lnTo>
                  <a:lnTo>
                    <a:pt x="630" y="1743"/>
                  </a:lnTo>
                  <a:lnTo>
                    <a:pt x="574" y="1690"/>
                  </a:lnTo>
                  <a:cubicBezTo>
                    <a:pt x="590" y="1682"/>
                    <a:pt x="610" y="1677"/>
                    <a:pt x="631" y="1677"/>
                  </a:cubicBezTo>
                  <a:lnTo>
                    <a:pt x="631" y="1743"/>
                  </a:lnTo>
                  <a:close/>
                  <a:moveTo>
                    <a:pt x="629" y="1752"/>
                  </a:moveTo>
                  <a:lnTo>
                    <a:pt x="629" y="1857"/>
                  </a:lnTo>
                  <a:lnTo>
                    <a:pt x="530" y="1857"/>
                  </a:lnTo>
                  <a:lnTo>
                    <a:pt x="530" y="1752"/>
                  </a:lnTo>
                  <a:lnTo>
                    <a:pt x="629" y="1752"/>
                  </a:lnTo>
                  <a:close/>
                  <a:moveTo>
                    <a:pt x="639" y="1752"/>
                  </a:moveTo>
                  <a:lnTo>
                    <a:pt x="735" y="1752"/>
                  </a:lnTo>
                  <a:lnTo>
                    <a:pt x="735" y="1857"/>
                  </a:lnTo>
                  <a:lnTo>
                    <a:pt x="639" y="1857"/>
                  </a:lnTo>
                  <a:lnTo>
                    <a:pt x="639" y="1752"/>
                  </a:lnTo>
                  <a:close/>
                  <a:moveTo>
                    <a:pt x="569" y="1692"/>
                  </a:moveTo>
                  <a:lnTo>
                    <a:pt x="624" y="1743"/>
                  </a:lnTo>
                  <a:lnTo>
                    <a:pt x="530" y="1743"/>
                  </a:lnTo>
                  <a:cubicBezTo>
                    <a:pt x="533" y="1723"/>
                    <a:pt x="547" y="1704"/>
                    <a:pt x="569" y="1692"/>
                  </a:cubicBezTo>
                  <a:close/>
                  <a:moveTo>
                    <a:pt x="530" y="1864"/>
                  </a:moveTo>
                  <a:lnTo>
                    <a:pt x="629" y="1864"/>
                  </a:lnTo>
                  <a:lnTo>
                    <a:pt x="629" y="1983"/>
                  </a:lnTo>
                  <a:lnTo>
                    <a:pt x="530" y="1983"/>
                  </a:lnTo>
                  <a:lnTo>
                    <a:pt x="530" y="1864"/>
                  </a:lnTo>
                  <a:close/>
                  <a:moveTo>
                    <a:pt x="639" y="1983"/>
                  </a:moveTo>
                  <a:lnTo>
                    <a:pt x="639" y="1864"/>
                  </a:lnTo>
                  <a:lnTo>
                    <a:pt x="735" y="1864"/>
                  </a:lnTo>
                  <a:lnTo>
                    <a:pt x="735" y="1983"/>
                  </a:lnTo>
                  <a:lnTo>
                    <a:pt x="639" y="1983"/>
                  </a:lnTo>
                  <a:close/>
                  <a:moveTo>
                    <a:pt x="450" y="1740"/>
                  </a:moveTo>
                  <a:cubicBezTo>
                    <a:pt x="448" y="1698"/>
                    <a:pt x="399" y="1664"/>
                    <a:pt x="339" y="1664"/>
                  </a:cubicBezTo>
                  <a:cubicBezTo>
                    <a:pt x="279" y="1664"/>
                    <a:pt x="230" y="1698"/>
                    <a:pt x="228" y="1740"/>
                  </a:cubicBezTo>
                  <a:lnTo>
                    <a:pt x="229" y="1996"/>
                  </a:lnTo>
                  <a:lnTo>
                    <a:pt x="450" y="1996"/>
                  </a:lnTo>
                  <a:lnTo>
                    <a:pt x="450" y="1740"/>
                  </a:lnTo>
                  <a:close/>
                  <a:moveTo>
                    <a:pt x="441" y="1743"/>
                  </a:moveTo>
                  <a:lnTo>
                    <a:pt x="350" y="1743"/>
                  </a:lnTo>
                  <a:lnTo>
                    <a:pt x="404" y="1693"/>
                  </a:lnTo>
                  <a:cubicBezTo>
                    <a:pt x="425" y="1705"/>
                    <a:pt x="439" y="1723"/>
                    <a:pt x="441" y="1743"/>
                  </a:cubicBezTo>
                  <a:close/>
                  <a:moveTo>
                    <a:pt x="343" y="1743"/>
                  </a:moveTo>
                  <a:lnTo>
                    <a:pt x="343" y="1677"/>
                  </a:lnTo>
                  <a:cubicBezTo>
                    <a:pt x="364" y="1678"/>
                    <a:pt x="383" y="1683"/>
                    <a:pt x="399" y="1691"/>
                  </a:cubicBezTo>
                  <a:lnTo>
                    <a:pt x="343" y="1743"/>
                  </a:lnTo>
                  <a:lnTo>
                    <a:pt x="344" y="1743"/>
                  </a:lnTo>
                  <a:lnTo>
                    <a:pt x="343" y="1743"/>
                  </a:lnTo>
                  <a:close/>
                  <a:moveTo>
                    <a:pt x="338" y="1743"/>
                  </a:moveTo>
                  <a:lnTo>
                    <a:pt x="337" y="1743"/>
                  </a:lnTo>
                  <a:lnTo>
                    <a:pt x="337" y="1743"/>
                  </a:lnTo>
                  <a:lnTo>
                    <a:pt x="280" y="1690"/>
                  </a:lnTo>
                  <a:cubicBezTo>
                    <a:pt x="297" y="1682"/>
                    <a:pt x="317" y="1677"/>
                    <a:pt x="338" y="1677"/>
                  </a:cubicBezTo>
                  <a:lnTo>
                    <a:pt x="338" y="1743"/>
                  </a:lnTo>
                  <a:close/>
                  <a:moveTo>
                    <a:pt x="336" y="1752"/>
                  </a:moveTo>
                  <a:lnTo>
                    <a:pt x="336" y="1857"/>
                  </a:lnTo>
                  <a:lnTo>
                    <a:pt x="237" y="1857"/>
                  </a:lnTo>
                  <a:lnTo>
                    <a:pt x="237" y="1752"/>
                  </a:lnTo>
                  <a:lnTo>
                    <a:pt x="336" y="1752"/>
                  </a:lnTo>
                  <a:close/>
                  <a:moveTo>
                    <a:pt x="346" y="1752"/>
                  </a:moveTo>
                  <a:lnTo>
                    <a:pt x="441" y="1752"/>
                  </a:lnTo>
                  <a:lnTo>
                    <a:pt x="441" y="1857"/>
                  </a:lnTo>
                  <a:lnTo>
                    <a:pt x="346" y="1857"/>
                  </a:lnTo>
                  <a:lnTo>
                    <a:pt x="346" y="1752"/>
                  </a:lnTo>
                  <a:close/>
                  <a:moveTo>
                    <a:pt x="276" y="1692"/>
                  </a:moveTo>
                  <a:lnTo>
                    <a:pt x="331" y="1743"/>
                  </a:lnTo>
                  <a:lnTo>
                    <a:pt x="237" y="1743"/>
                  </a:lnTo>
                  <a:cubicBezTo>
                    <a:pt x="239" y="1723"/>
                    <a:pt x="254" y="1704"/>
                    <a:pt x="276" y="1692"/>
                  </a:cubicBezTo>
                  <a:close/>
                  <a:moveTo>
                    <a:pt x="237" y="1864"/>
                  </a:moveTo>
                  <a:lnTo>
                    <a:pt x="336" y="1864"/>
                  </a:lnTo>
                  <a:lnTo>
                    <a:pt x="336" y="1983"/>
                  </a:lnTo>
                  <a:lnTo>
                    <a:pt x="237" y="1983"/>
                  </a:lnTo>
                  <a:lnTo>
                    <a:pt x="237" y="1864"/>
                  </a:lnTo>
                  <a:close/>
                  <a:moveTo>
                    <a:pt x="346" y="1983"/>
                  </a:moveTo>
                  <a:lnTo>
                    <a:pt x="346" y="1864"/>
                  </a:lnTo>
                  <a:lnTo>
                    <a:pt x="441" y="1864"/>
                  </a:lnTo>
                  <a:lnTo>
                    <a:pt x="441" y="1983"/>
                  </a:lnTo>
                  <a:lnTo>
                    <a:pt x="346" y="1983"/>
                  </a:lnTo>
                  <a:close/>
                  <a:moveTo>
                    <a:pt x="451" y="1300"/>
                  </a:moveTo>
                  <a:cubicBezTo>
                    <a:pt x="449" y="1258"/>
                    <a:pt x="400" y="1224"/>
                    <a:pt x="340" y="1224"/>
                  </a:cubicBezTo>
                  <a:cubicBezTo>
                    <a:pt x="280" y="1224"/>
                    <a:pt x="231" y="1258"/>
                    <a:pt x="229" y="1300"/>
                  </a:cubicBezTo>
                  <a:lnTo>
                    <a:pt x="230" y="1556"/>
                  </a:lnTo>
                  <a:lnTo>
                    <a:pt x="451" y="1556"/>
                  </a:lnTo>
                  <a:lnTo>
                    <a:pt x="451" y="1300"/>
                  </a:lnTo>
                  <a:close/>
                  <a:moveTo>
                    <a:pt x="442" y="1303"/>
                  </a:moveTo>
                  <a:lnTo>
                    <a:pt x="351" y="1303"/>
                  </a:lnTo>
                  <a:lnTo>
                    <a:pt x="405" y="1253"/>
                  </a:lnTo>
                  <a:cubicBezTo>
                    <a:pt x="426" y="1265"/>
                    <a:pt x="440" y="1283"/>
                    <a:pt x="442" y="1303"/>
                  </a:cubicBezTo>
                  <a:close/>
                  <a:moveTo>
                    <a:pt x="344" y="1303"/>
                  </a:moveTo>
                  <a:lnTo>
                    <a:pt x="344" y="1237"/>
                  </a:lnTo>
                  <a:cubicBezTo>
                    <a:pt x="365" y="1237"/>
                    <a:pt x="385" y="1242"/>
                    <a:pt x="401" y="1251"/>
                  </a:cubicBezTo>
                  <a:lnTo>
                    <a:pt x="345" y="1303"/>
                  </a:lnTo>
                  <a:lnTo>
                    <a:pt x="345" y="1303"/>
                  </a:lnTo>
                  <a:lnTo>
                    <a:pt x="344" y="1303"/>
                  </a:lnTo>
                  <a:close/>
                  <a:moveTo>
                    <a:pt x="339" y="1303"/>
                  </a:moveTo>
                  <a:lnTo>
                    <a:pt x="338" y="1303"/>
                  </a:lnTo>
                  <a:lnTo>
                    <a:pt x="339" y="1303"/>
                  </a:lnTo>
                  <a:lnTo>
                    <a:pt x="282" y="1250"/>
                  </a:lnTo>
                  <a:cubicBezTo>
                    <a:pt x="298" y="1241"/>
                    <a:pt x="318" y="1237"/>
                    <a:pt x="339" y="1237"/>
                  </a:cubicBezTo>
                  <a:lnTo>
                    <a:pt x="339" y="1303"/>
                  </a:lnTo>
                  <a:close/>
                  <a:moveTo>
                    <a:pt x="337" y="1311"/>
                  </a:moveTo>
                  <a:lnTo>
                    <a:pt x="337" y="1417"/>
                  </a:lnTo>
                  <a:lnTo>
                    <a:pt x="238" y="1417"/>
                  </a:lnTo>
                  <a:lnTo>
                    <a:pt x="238" y="1311"/>
                  </a:lnTo>
                  <a:lnTo>
                    <a:pt x="337" y="1311"/>
                  </a:lnTo>
                  <a:close/>
                  <a:moveTo>
                    <a:pt x="347" y="1311"/>
                  </a:moveTo>
                  <a:lnTo>
                    <a:pt x="443" y="1311"/>
                  </a:lnTo>
                  <a:lnTo>
                    <a:pt x="443" y="1417"/>
                  </a:lnTo>
                  <a:lnTo>
                    <a:pt x="347" y="1417"/>
                  </a:lnTo>
                  <a:lnTo>
                    <a:pt x="347" y="1311"/>
                  </a:lnTo>
                  <a:close/>
                  <a:moveTo>
                    <a:pt x="277" y="1252"/>
                  </a:moveTo>
                  <a:lnTo>
                    <a:pt x="332" y="1303"/>
                  </a:lnTo>
                  <a:lnTo>
                    <a:pt x="238" y="1303"/>
                  </a:lnTo>
                  <a:cubicBezTo>
                    <a:pt x="241" y="1282"/>
                    <a:pt x="255" y="1264"/>
                    <a:pt x="277" y="1252"/>
                  </a:cubicBezTo>
                  <a:close/>
                  <a:moveTo>
                    <a:pt x="238" y="1423"/>
                  </a:moveTo>
                  <a:lnTo>
                    <a:pt x="337" y="1423"/>
                  </a:lnTo>
                  <a:lnTo>
                    <a:pt x="337" y="1543"/>
                  </a:lnTo>
                  <a:lnTo>
                    <a:pt x="238" y="1543"/>
                  </a:lnTo>
                  <a:lnTo>
                    <a:pt x="238" y="1423"/>
                  </a:lnTo>
                  <a:close/>
                  <a:moveTo>
                    <a:pt x="347" y="1543"/>
                  </a:moveTo>
                  <a:lnTo>
                    <a:pt x="347" y="1423"/>
                  </a:lnTo>
                  <a:lnTo>
                    <a:pt x="443" y="1423"/>
                  </a:lnTo>
                  <a:lnTo>
                    <a:pt x="443" y="1543"/>
                  </a:lnTo>
                  <a:lnTo>
                    <a:pt x="347" y="1543"/>
                  </a:lnTo>
                  <a:close/>
                  <a:moveTo>
                    <a:pt x="744" y="1302"/>
                  </a:moveTo>
                  <a:cubicBezTo>
                    <a:pt x="742" y="1260"/>
                    <a:pt x="693" y="1226"/>
                    <a:pt x="633" y="1226"/>
                  </a:cubicBezTo>
                  <a:cubicBezTo>
                    <a:pt x="573" y="1226"/>
                    <a:pt x="524" y="1260"/>
                    <a:pt x="522" y="1302"/>
                  </a:cubicBezTo>
                  <a:lnTo>
                    <a:pt x="523" y="1558"/>
                  </a:lnTo>
                  <a:lnTo>
                    <a:pt x="744" y="1558"/>
                  </a:lnTo>
                  <a:lnTo>
                    <a:pt x="744" y="1302"/>
                  </a:lnTo>
                  <a:close/>
                  <a:moveTo>
                    <a:pt x="735" y="1305"/>
                  </a:moveTo>
                  <a:lnTo>
                    <a:pt x="645" y="1305"/>
                  </a:lnTo>
                  <a:lnTo>
                    <a:pt x="698" y="1255"/>
                  </a:lnTo>
                  <a:cubicBezTo>
                    <a:pt x="719" y="1267"/>
                    <a:pt x="733" y="1285"/>
                    <a:pt x="735" y="1305"/>
                  </a:cubicBezTo>
                  <a:close/>
                  <a:moveTo>
                    <a:pt x="637" y="1305"/>
                  </a:moveTo>
                  <a:lnTo>
                    <a:pt x="637" y="1239"/>
                  </a:lnTo>
                  <a:cubicBezTo>
                    <a:pt x="658" y="1240"/>
                    <a:pt x="678" y="1245"/>
                    <a:pt x="694" y="1253"/>
                  </a:cubicBezTo>
                  <a:lnTo>
                    <a:pt x="638" y="1305"/>
                  </a:lnTo>
                  <a:lnTo>
                    <a:pt x="638" y="1305"/>
                  </a:lnTo>
                  <a:lnTo>
                    <a:pt x="637" y="1305"/>
                  </a:lnTo>
                  <a:close/>
                  <a:moveTo>
                    <a:pt x="633" y="1305"/>
                  </a:moveTo>
                  <a:lnTo>
                    <a:pt x="632" y="1305"/>
                  </a:lnTo>
                  <a:lnTo>
                    <a:pt x="632" y="1305"/>
                  </a:lnTo>
                  <a:lnTo>
                    <a:pt x="575" y="1252"/>
                  </a:lnTo>
                  <a:cubicBezTo>
                    <a:pt x="591" y="1244"/>
                    <a:pt x="611" y="1239"/>
                    <a:pt x="633" y="1239"/>
                  </a:cubicBezTo>
                  <a:lnTo>
                    <a:pt x="633" y="1305"/>
                  </a:lnTo>
                  <a:close/>
                  <a:moveTo>
                    <a:pt x="630" y="1314"/>
                  </a:moveTo>
                  <a:lnTo>
                    <a:pt x="630" y="1419"/>
                  </a:lnTo>
                  <a:lnTo>
                    <a:pt x="531" y="1419"/>
                  </a:lnTo>
                  <a:lnTo>
                    <a:pt x="531" y="1314"/>
                  </a:lnTo>
                  <a:lnTo>
                    <a:pt x="630" y="1314"/>
                  </a:lnTo>
                  <a:close/>
                  <a:moveTo>
                    <a:pt x="640" y="1314"/>
                  </a:moveTo>
                  <a:lnTo>
                    <a:pt x="736" y="1314"/>
                  </a:lnTo>
                  <a:lnTo>
                    <a:pt x="736" y="1419"/>
                  </a:lnTo>
                  <a:lnTo>
                    <a:pt x="640" y="1419"/>
                  </a:lnTo>
                  <a:lnTo>
                    <a:pt x="640" y="1314"/>
                  </a:lnTo>
                  <a:close/>
                  <a:moveTo>
                    <a:pt x="570" y="1254"/>
                  </a:moveTo>
                  <a:lnTo>
                    <a:pt x="625" y="1305"/>
                  </a:lnTo>
                  <a:lnTo>
                    <a:pt x="531" y="1305"/>
                  </a:lnTo>
                  <a:cubicBezTo>
                    <a:pt x="534" y="1285"/>
                    <a:pt x="549" y="1266"/>
                    <a:pt x="570" y="1254"/>
                  </a:cubicBezTo>
                  <a:close/>
                  <a:moveTo>
                    <a:pt x="531" y="1426"/>
                  </a:moveTo>
                  <a:lnTo>
                    <a:pt x="630" y="1426"/>
                  </a:lnTo>
                  <a:lnTo>
                    <a:pt x="630" y="1545"/>
                  </a:lnTo>
                  <a:lnTo>
                    <a:pt x="532" y="1545"/>
                  </a:lnTo>
                  <a:lnTo>
                    <a:pt x="531" y="1426"/>
                  </a:lnTo>
                  <a:close/>
                  <a:moveTo>
                    <a:pt x="640" y="1545"/>
                  </a:moveTo>
                  <a:lnTo>
                    <a:pt x="640" y="1426"/>
                  </a:lnTo>
                  <a:lnTo>
                    <a:pt x="736" y="1426"/>
                  </a:lnTo>
                  <a:lnTo>
                    <a:pt x="736" y="1546"/>
                  </a:lnTo>
                  <a:lnTo>
                    <a:pt x="640" y="1545"/>
                  </a:lnTo>
                  <a:close/>
                  <a:moveTo>
                    <a:pt x="1036" y="1300"/>
                  </a:moveTo>
                  <a:cubicBezTo>
                    <a:pt x="1034" y="1258"/>
                    <a:pt x="985" y="1224"/>
                    <a:pt x="925" y="1224"/>
                  </a:cubicBezTo>
                  <a:cubicBezTo>
                    <a:pt x="865" y="1224"/>
                    <a:pt x="816" y="1258"/>
                    <a:pt x="814" y="1300"/>
                  </a:cubicBezTo>
                  <a:lnTo>
                    <a:pt x="815" y="1556"/>
                  </a:lnTo>
                  <a:lnTo>
                    <a:pt x="1036" y="1556"/>
                  </a:lnTo>
                  <a:lnTo>
                    <a:pt x="1036" y="1300"/>
                  </a:lnTo>
                  <a:close/>
                  <a:moveTo>
                    <a:pt x="1027" y="1303"/>
                  </a:moveTo>
                  <a:lnTo>
                    <a:pt x="936" y="1303"/>
                  </a:lnTo>
                  <a:lnTo>
                    <a:pt x="990" y="1253"/>
                  </a:lnTo>
                  <a:cubicBezTo>
                    <a:pt x="1011" y="1265"/>
                    <a:pt x="1025" y="1283"/>
                    <a:pt x="1027" y="1303"/>
                  </a:cubicBezTo>
                  <a:close/>
                  <a:moveTo>
                    <a:pt x="929" y="1303"/>
                  </a:moveTo>
                  <a:lnTo>
                    <a:pt x="929" y="1237"/>
                  </a:lnTo>
                  <a:cubicBezTo>
                    <a:pt x="950" y="1237"/>
                    <a:pt x="970" y="1242"/>
                    <a:pt x="986" y="1251"/>
                  </a:cubicBezTo>
                  <a:lnTo>
                    <a:pt x="930" y="1303"/>
                  </a:lnTo>
                  <a:lnTo>
                    <a:pt x="930" y="1303"/>
                  </a:lnTo>
                  <a:lnTo>
                    <a:pt x="929" y="1303"/>
                  </a:lnTo>
                  <a:close/>
                  <a:moveTo>
                    <a:pt x="925" y="1303"/>
                  </a:moveTo>
                  <a:lnTo>
                    <a:pt x="924" y="1303"/>
                  </a:lnTo>
                  <a:lnTo>
                    <a:pt x="924" y="1303"/>
                  </a:lnTo>
                  <a:lnTo>
                    <a:pt x="867" y="1250"/>
                  </a:lnTo>
                  <a:cubicBezTo>
                    <a:pt x="883" y="1241"/>
                    <a:pt x="903" y="1237"/>
                    <a:pt x="925" y="1237"/>
                  </a:cubicBezTo>
                  <a:lnTo>
                    <a:pt x="925" y="1303"/>
                  </a:lnTo>
                  <a:close/>
                  <a:moveTo>
                    <a:pt x="922" y="1311"/>
                  </a:moveTo>
                  <a:lnTo>
                    <a:pt x="922" y="1417"/>
                  </a:lnTo>
                  <a:lnTo>
                    <a:pt x="823" y="1417"/>
                  </a:lnTo>
                  <a:lnTo>
                    <a:pt x="823" y="1311"/>
                  </a:lnTo>
                  <a:lnTo>
                    <a:pt x="922" y="1311"/>
                  </a:lnTo>
                  <a:close/>
                  <a:moveTo>
                    <a:pt x="932" y="1311"/>
                  </a:moveTo>
                  <a:lnTo>
                    <a:pt x="1028" y="1311"/>
                  </a:lnTo>
                  <a:lnTo>
                    <a:pt x="1028" y="1417"/>
                  </a:lnTo>
                  <a:lnTo>
                    <a:pt x="932" y="1417"/>
                  </a:lnTo>
                  <a:lnTo>
                    <a:pt x="932" y="1311"/>
                  </a:lnTo>
                  <a:close/>
                  <a:moveTo>
                    <a:pt x="862" y="1252"/>
                  </a:moveTo>
                  <a:lnTo>
                    <a:pt x="917" y="1303"/>
                  </a:lnTo>
                  <a:lnTo>
                    <a:pt x="823" y="1303"/>
                  </a:lnTo>
                  <a:cubicBezTo>
                    <a:pt x="826" y="1282"/>
                    <a:pt x="840" y="1264"/>
                    <a:pt x="862" y="1252"/>
                  </a:cubicBezTo>
                  <a:close/>
                  <a:moveTo>
                    <a:pt x="823" y="1423"/>
                  </a:moveTo>
                  <a:lnTo>
                    <a:pt x="922" y="1423"/>
                  </a:lnTo>
                  <a:lnTo>
                    <a:pt x="922" y="1543"/>
                  </a:lnTo>
                  <a:lnTo>
                    <a:pt x="824" y="1543"/>
                  </a:lnTo>
                  <a:lnTo>
                    <a:pt x="823" y="1423"/>
                  </a:lnTo>
                  <a:close/>
                  <a:moveTo>
                    <a:pt x="932" y="1543"/>
                  </a:moveTo>
                  <a:lnTo>
                    <a:pt x="932" y="1423"/>
                  </a:lnTo>
                  <a:lnTo>
                    <a:pt x="1028" y="1423"/>
                  </a:lnTo>
                  <a:lnTo>
                    <a:pt x="1028" y="1543"/>
                  </a:lnTo>
                  <a:lnTo>
                    <a:pt x="932" y="1543"/>
                  </a:lnTo>
                  <a:close/>
                  <a:moveTo>
                    <a:pt x="1327" y="1300"/>
                  </a:moveTo>
                  <a:cubicBezTo>
                    <a:pt x="1325" y="1258"/>
                    <a:pt x="1276" y="1224"/>
                    <a:pt x="1216" y="1224"/>
                  </a:cubicBezTo>
                  <a:cubicBezTo>
                    <a:pt x="1156" y="1224"/>
                    <a:pt x="1107" y="1258"/>
                    <a:pt x="1105" y="1300"/>
                  </a:cubicBezTo>
                  <a:lnTo>
                    <a:pt x="1106" y="1556"/>
                  </a:lnTo>
                  <a:lnTo>
                    <a:pt x="1327" y="1556"/>
                  </a:lnTo>
                  <a:lnTo>
                    <a:pt x="1327" y="1300"/>
                  </a:lnTo>
                  <a:close/>
                  <a:moveTo>
                    <a:pt x="1318" y="1303"/>
                  </a:moveTo>
                  <a:lnTo>
                    <a:pt x="1227" y="1303"/>
                  </a:lnTo>
                  <a:lnTo>
                    <a:pt x="1281" y="1253"/>
                  </a:lnTo>
                  <a:cubicBezTo>
                    <a:pt x="1302" y="1265"/>
                    <a:pt x="1316" y="1283"/>
                    <a:pt x="1318" y="1303"/>
                  </a:cubicBezTo>
                  <a:close/>
                  <a:moveTo>
                    <a:pt x="1220" y="1303"/>
                  </a:moveTo>
                  <a:lnTo>
                    <a:pt x="1220" y="1237"/>
                  </a:lnTo>
                  <a:cubicBezTo>
                    <a:pt x="1241" y="1237"/>
                    <a:pt x="1260" y="1242"/>
                    <a:pt x="1276" y="1251"/>
                  </a:cubicBezTo>
                  <a:lnTo>
                    <a:pt x="1221" y="1303"/>
                  </a:lnTo>
                  <a:lnTo>
                    <a:pt x="1221" y="1303"/>
                  </a:lnTo>
                  <a:lnTo>
                    <a:pt x="1220" y="1303"/>
                  </a:lnTo>
                  <a:close/>
                  <a:moveTo>
                    <a:pt x="1215" y="1303"/>
                  </a:moveTo>
                  <a:lnTo>
                    <a:pt x="1214" y="1303"/>
                  </a:lnTo>
                  <a:lnTo>
                    <a:pt x="1214" y="1303"/>
                  </a:lnTo>
                  <a:lnTo>
                    <a:pt x="1158" y="1250"/>
                  </a:lnTo>
                  <a:cubicBezTo>
                    <a:pt x="1174" y="1241"/>
                    <a:pt x="1194" y="1237"/>
                    <a:pt x="1215" y="1237"/>
                  </a:cubicBezTo>
                  <a:lnTo>
                    <a:pt x="1215" y="1303"/>
                  </a:lnTo>
                  <a:close/>
                  <a:moveTo>
                    <a:pt x="1213" y="1311"/>
                  </a:moveTo>
                  <a:lnTo>
                    <a:pt x="1213" y="1417"/>
                  </a:lnTo>
                  <a:lnTo>
                    <a:pt x="1114" y="1417"/>
                  </a:lnTo>
                  <a:lnTo>
                    <a:pt x="1114" y="1311"/>
                  </a:lnTo>
                  <a:lnTo>
                    <a:pt x="1213" y="1311"/>
                  </a:lnTo>
                  <a:close/>
                  <a:moveTo>
                    <a:pt x="1223" y="1311"/>
                  </a:moveTo>
                  <a:lnTo>
                    <a:pt x="1318" y="1311"/>
                  </a:lnTo>
                  <a:lnTo>
                    <a:pt x="1318" y="1417"/>
                  </a:lnTo>
                  <a:lnTo>
                    <a:pt x="1223" y="1417"/>
                  </a:lnTo>
                  <a:lnTo>
                    <a:pt x="1223" y="1311"/>
                  </a:lnTo>
                  <a:close/>
                  <a:moveTo>
                    <a:pt x="1153" y="1252"/>
                  </a:moveTo>
                  <a:lnTo>
                    <a:pt x="1208" y="1303"/>
                  </a:lnTo>
                  <a:lnTo>
                    <a:pt x="1114" y="1303"/>
                  </a:lnTo>
                  <a:cubicBezTo>
                    <a:pt x="1116" y="1282"/>
                    <a:pt x="1131" y="1264"/>
                    <a:pt x="1153" y="1252"/>
                  </a:cubicBezTo>
                  <a:close/>
                  <a:moveTo>
                    <a:pt x="1114" y="1423"/>
                  </a:moveTo>
                  <a:lnTo>
                    <a:pt x="1213" y="1423"/>
                  </a:lnTo>
                  <a:lnTo>
                    <a:pt x="1213" y="1543"/>
                  </a:lnTo>
                  <a:lnTo>
                    <a:pt x="1114" y="1543"/>
                  </a:lnTo>
                  <a:lnTo>
                    <a:pt x="1114" y="1423"/>
                  </a:lnTo>
                  <a:close/>
                  <a:moveTo>
                    <a:pt x="1223" y="1543"/>
                  </a:moveTo>
                  <a:lnTo>
                    <a:pt x="1223" y="1423"/>
                  </a:lnTo>
                  <a:lnTo>
                    <a:pt x="1318" y="1423"/>
                  </a:lnTo>
                  <a:lnTo>
                    <a:pt x="1318" y="1543"/>
                  </a:lnTo>
                  <a:lnTo>
                    <a:pt x="1223" y="1543"/>
                  </a:lnTo>
                  <a:close/>
                  <a:moveTo>
                    <a:pt x="1327" y="859"/>
                  </a:moveTo>
                  <a:cubicBezTo>
                    <a:pt x="1325" y="817"/>
                    <a:pt x="1276" y="783"/>
                    <a:pt x="1216" y="783"/>
                  </a:cubicBezTo>
                  <a:cubicBezTo>
                    <a:pt x="1156" y="783"/>
                    <a:pt x="1107" y="817"/>
                    <a:pt x="1105" y="859"/>
                  </a:cubicBezTo>
                  <a:lnTo>
                    <a:pt x="1106" y="1115"/>
                  </a:lnTo>
                  <a:lnTo>
                    <a:pt x="1327" y="1116"/>
                  </a:lnTo>
                  <a:lnTo>
                    <a:pt x="1327" y="859"/>
                  </a:lnTo>
                  <a:close/>
                  <a:moveTo>
                    <a:pt x="1318" y="863"/>
                  </a:moveTo>
                  <a:lnTo>
                    <a:pt x="1227" y="863"/>
                  </a:lnTo>
                  <a:lnTo>
                    <a:pt x="1281" y="812"/>
                  </a:lnTo>
                  <a:cubicBezTo>
                    <a:pt x="1302" y="825"/>
                    <a:pt x="1316" y="842"/>
                    <a:pt x="1318" y="863"/>
                  </a:cubicBezTo>
                  <a:close/>
                  <a:moveTo>
                    <a:pt x="1220" y="863"/>
                  </a:moveTo>
                  <a:lnTo>
                    <a:pt x="1220" y="796"/>
                  </a:lnTo>
                  <a:cubicBezTo>
                    <a:pt x="1241" y="797"/>
                    <a:pt x="1260" y="802"/>
                    <a:pt x="1276" y="810"/>
                  </a:cubicBezTo>
                  <a:lnTo>
                    <a:pt x="1221" y="862"/>
                  </a:lnTo>
                  <a:lnTo>
                    <a:pt x="1221" y="863"/>
                  </a:lnTo>
                  <a:lnTo>
                    <a:pt x="1220" y="863"/>
                  </a:lnTo>
                  <a:close/>
                  <a:moveTo>
                    <a:pt x="1215" y="863"/>
                  </a:moveTo>
                  <a:lnTo>
                    <a:pt x="1214" y="863"/>
                  </a:lnTo>
                  <a:lnTo>
                    <a:pt x="1214" y="862"/>
                  </a:lnTo>
                  <a:lnTo>
                    <a:pt x="1158" y="809"/>
                  </a:lnTo>
                  <a:cubicBezTo>
                    <a:pt x="1174" y="801"/>
                    <a:pt x="1194" y="796"/>
                    <a:pt x="1215" y="796"/>
                  </a:cubicBezTo>
                  <a:lnTo>
                    <a:pt x="1215" y="863"/>
                  </a:lnTo>
                  <a:close/>
                  <a:moveTo>
                    <a:pt x="1213" y="871"/>
                  </a:moveTo>
                  <a:lnTo>
                    <a:pt x="1213" y="977"/>
                  </a:lnTo>
                  <a:lnTo>
                    <a:pt x="1114" y="977"/>
                  </a:lnTo>
                  <a:lnTo>
                    <a:pt x="1114" y="871"/>
                  </a:lnTo>
                  <a:lnTo>
                    <a:pt x="1213" y="871"/>
                  </a:lnTo>
                  <a:close/>
                  <a:moveTo>
                    <a:pt x="1223" y="871"/>
                  </a:moveTo>
                  <a:lnTo>
                    <a:pt x="1318" y="871"/>
                  </a:lnTo>
                  <a:lnTo>
                    <a:pt x="1318" y="977"/>
                  </a:lnTo>
                  <a:lnTo>
                    <a:pt x="1223" y="977"/>
                  </a:lnTo>
                  <a:lnTo>
                    <a:pt x="1223" y="871"/>
                  </a:lnTo>
                  <a:close/>
                  <a:moveTo>
                    <a:pt x="1153" y="811"/>
                  </a:moveTo>
                  <a:lnTo>
                    <a:pt x="1208" y="863"/>
                  </a:lnTo>
                  <a:lnTo>
                    <a:pt x="1114" y="863"/>
                  </a:lnTo>
                  <a:cubicBezTo>
                    <a:pt x="1116" y="842"/>
                    <a:pt x="1131" y="824"/>
                    <a:pt x="1153" y="811"/>
                  </a:cubicBezTo>
                  <a:close/>
                  <a:moveTo>
                    <a:pt x="1114" y="983"/>
                  </a:moveTo>
                  <a:lnTo>
                    <a:pt x="1213" y="983"/>
                  </a:lnTo>
                  <a:lnTo>
                    <a:pt x="1213" y="1103"/>
                  </a:lnTo>
                  <a:lnTo>
                    <a:pt x="1114" y="1102"/>
                  </a:lnTo>
                  <a:lnTo>
                    <a:pt x="1114" y="983"/>
                  </a:lnTo>
                  <a:close/>
                  <a:moveTo>
                    <a:pt x="1223" y="1103"/>
                  </a:moveTo>
                  <a:lnTo>
                    <a:pt x="1223" y="983"/>
                  </a:lnTo>
                  <a:lnTo>
                    <a:pt x="1318" y="983"/>
                  </a:lnTo>
                  <a:lnTo>
                    <a:pt x="1318" y="1103"/>
                  </a:lnTo>
                  <a:lnTo>
                    <a:pt x="1223" y="1103"/>
                  </a:lnTo>
                  <a:close/>
                  <a:moveTo>
                    <a:pt x="1036" y="861"/>
                  </a:moveTo>
                  <a:cubicBezTo>
                    <a:pt x="1034" y="818"/>
                    <a:pt x="985" y="785"/>
                    <a:pt x="925" y="785"/>
                  </a:cubicBezTo>
                  <a:cubicBezTo>
                    <a:pt x="865" y="785"/>
                    <a:pt x="816" y="818"/>
                    <a:pt x="814" y="861"/>
                  </a:cubicBezTo>
                  <a:lnTo>
                    <a:pt x="815" y="1116"/>
                  </a:lnTo>
                  <a:lnTo>
                    <a:pt x="1036" y="1117"/>
                  </a:lnTo>
                  <a:lnTo>
                    <a:pt x="1036" y="861"/>
                  </a:lnTo>
                  <a:close/>
                  <a:moveTo>
                    <a:pt x="1027" y="864"/>
                  </a:moveTo>
                  <a:lnTo>
                    <a:pt x="936" y="864"/>
                  </a:lnTo>
                  <a:lnTo>
                    <a:pt x="990" y="814"/>
                  </a:lnTo>
                  <a:cubicBezTo>
                    <a:pt x="1011" y="826"/>
                    <a:pt x="1025" y="844"/>
                    <a:pt x="1027" y="864"/>
                  </a:cubicBezTo>
                  <a:close/>
                  <a:moveTo>
                    <a:pt x="929" y="864"/>
                  </a:moveTo>
                  <a:lnTo>
                    <a:pt x="929" y="798"/>
                  </a:lnTo>
                  <a:cubicBezTo>
                    <a:pt x="950" y="798"/>
                    <a:pt x="970" y="803"/>
                    <a:pt x="986" y="811"/>
                  </a:cubicBezTo>
                  <a:lnTo>
                    <a:pt x="930" y="864"/>
                  </a:lnTo>
                  <a:lnTo>
                    <a:pt x="930" y="864"/>
                  </a:lnTo>
                  <a:lnTo>
                    <a:pt x="929" y="864"/>
                  </a:lnTo>
                  <a:close/>
                  <a:moveTo>
                    <a:pt x="925" y="864"/>
                  </a:moveTo>
                  <a:lnTo>
                    <a:pt x="924" y="864"/>
                  </a:lnTo>
                  <a:lnTo>
                    <a:pt x="924" y="864"/>
                  </a:lnTo>
                  <a:lnTo>
                    <a:pt x="867" y="810"/>
                  </a:lnTo>
                  <a:cubicBezTo>
                    <a:pt x="883" y="802"/>
                    <a:pt x="903" y="798"/>
                    <a:pt x="925" y="797"/>
                  </a:cubicBezTo>
                  <a:lnTo>
                    <a:pt x="925" y="864"/>
                  </a:lnTo>
                  <a:close/>
                  <a:moveTo>
                    <a:pt x="922" y="872"/>
                  </a:moveTo>
                  <a:lnTo>
                    <a:pt x="922" y="978"/>
                  </a:lnTo>
                  <a:lnTo>
                    <a:pt x="823" y="978"/>
                  </a:lnTo>
                  <a:lnTo>
                    <a:pt x="823" y="872"/>
                  </a:lnTo>
                  <a:lnTo>
                    <a:pt x="922" y="872"/>
                  </a:lnTo>
                  <a:close/>
                  <a:moveTo>
                    <a:pt x="932" y="872"/>
                  </a:moveTo>
                  <a:lnTo>
                    <a:pt x="1028" y="872"/>
                  </a:lnTo>
                  <a:lnTo>
                    <a:pt x="1028" y="978"/>
                  </a:lnTo>
                  <a:lnTo>
                    <a:pt x="932" y="978"/>
                  </a:lnTo>
                  <a:lnTo>
                    <a:pt x="932" y="872"/>
                  </a:lnTo>
                  <a:close/>
                  <a:moveTo>
                    <a:pt x="862" y="813"/>
                  </a:moveTo>
                  <a:lnTo>
                    <a:pt x="917" y="864"/>
                  </a:lnTo>
                  <a:lnTo>
                    <a:pt x="823" y="864"/>
                  </a:lnTo>
                  <a:cubicBezTo>
                    <a:pt x="826" y="843"/>
                    <a:pt x="840" y="825"/>
                    <a:pt x="862" y="813"/>
                  </a:cubicBezTo>
                  <a:close/>
                  <a:moveTo>
                    <a:pt x="823" y="984"/>
                  </a:moveTo>
                  <a:lnTo>
                    <a:pt x="922" y="984"/>
                  </a:lnTo>
                  <a:lnTo>
                    <a:pt x="922" y="1104"/>
                  </a:lnTo>
                  <a:lnTo>
                    <a:pt x="824" y="1104"/>
                  </a:lnTo>
                  <a:lnTo>
                    <a:pt x="823" y="984"/>
                  </a:lnTo>
                  <a:close/>
                  <a:moveTo>
                    <a:pt x="932" y="1104"/>
                  </a:moveTo>
                  <a:lnTo>
                    <a:pt x="932" y="984"/>
                  </a:lnTo>
                  <a:lnTo>
                    <a:pt x="1028" y="984"/>
                  </a:lnTo>
                  <a:lnTo>
                    <a:pt x="1028" y="1104"/>
                  </a:lnTo>
                  <a:lnTo>
                    <a:pt x="932" y="1104"/>
                  </a:lnTo>
                  <a:close/>
                  <a:moveTo>
                    <a:pt x="744" y="863"/>
                  </a:moveTo>
                  <a:cubicBezTo>
                    <a:pt x="742" y="821"/>
                    <a:pt x="693" y="787"/>
                    <a:pt x="633" y="787"/>
                  </a:cubicBezTo>
                  <a:cubicBezTo>
                    <a:pt x="573" y="787"/>
                    <a:pt x="524" y="821"/>
                    <a:pt x="522" y="863"/>
                  </a:cubicBezTo>
                  <a:lnTo>
                    <a:pt x="523" y="1119"/>
                  </a:lnTo>
                  <a:lnTo>
                    <a:pt x="744" y="1119"/>
                  </a:lnTo>
                  <a:lnTo>
                    <a:pt x="744" y="863"/>
                  </a:lnTo>
                  <a:close/>
                  <a:moveTo>
                    <a:pt x="735" y="866"/>
                  </a:moveTo>
                  <a:lnTo>
                    <a:pt x="645" y="866"/>
                  </a:lnTo>
                  <a:lnTo>
                    <a:pt x="698" y="816"/>
                  </a:lnTo>
                  <a:cubicBezTo>
                    <a:pt x="719" y="828"/>
                    <a:pt x="733" y="846"/>
                    <a:pt x="735" y="866"/>
                  </a:cubicBezTo>
                  <a:close/>
                  <a:moveTo>
                    <a:pt x="637" y="866"/>
                  </a:moveTo>
                  <a:lnTo>
                    <a:pt x="637" y="800"/>
                  </a:lnTo>
                  <a:cubicBezTo>
                    <a:pt x="658" y="801"/>
                    <a:pt x="678" y="806"/>
                    <a:pt x="694" y="814"/>
                  </a:cubicBezTo>
                  <a:lnTo>
                    <a:pt x="638" y="866"/>
                  </a:lnTo>
                  <a:lnTo>
                    <a:pt x="638" y="866"/>
                  </a:lnTo>
                  <a:lnTo>
                    <a:pt x="637" y="866"/>
                  </a:lnTo>
                  <a:close/>
                  <a:moveTo>
                    <a:pt x="633" y="866"/>
                  </a:moveTo>
                  <a:lnTo>
                    <a:pt x="632" y="866"/>
                  </a:lnTo>
                  <a:lnTo>
                    <a:pt x="632" y="866"/>
                  </a:lnTo>
                  <a:lnTo>
                    <a:pt x="575" y="813"/>
                  </a:lnTo>
                  <a:cubicBezTo>
                    <a:pt x="591" y="805"/>
                    <a:pt x="611" y="800"/>
                    <a:pt x="633" y="800"/>
                  </a:cubicBezTo>
                  <a:lnTo>
                    <a:pt x="633" y="866"/>
                  </a:lnTo>
                  <a:close/>
                  <a:moveTo>
                    <a:pt x="630" y="875"/>
                  </a:moveTo>
                  <a:lnTo>
                    <a:pt x="630" y="980"/>
                  </a:lnTo>
                  <a:lnTo>
                    <a:pt x="531" y="980"/>
                  </a:lnTo>
                  <a:lnTo>
                    <a:pt x="531" y="875"/>
                  </a:lnTo>
                  <a:lnTo>
                    <a:pt x="630" y="875"/>
                  </a:lnTo>
                  <a:close/>
                  <a:moveTo>
                    <a:pt x="640" y="875"/>
                  </a:moveTo>
                  <a:lnTo>
                    <a:pt x="736" y="875"/>
                  </a:lnTo>
                  <a:lnTo>
                    <a:pt x="736" y="980"/>
                  </a:lnTo>
                  <a:lnTo>
                    <a:pt x="640" y="980"/>
                  </a:lnTo>
                  <a:lnTo>
                    <a:pt x="640" y="875"/>
                  </a:lnTo>
                  <a:close/>
                  <a:moveTo>
                    <a:pt x="570" y="815"/>
                  </a:moveTo>
                  <a:lnTo>
                    <a:pt x="625" y="866"/>
                  </a:lnTo>
                  <a:lnTo>
                    <a:pt x="531" y="866"/>
                  </a:lnTo>
                  <a:cubicBezTo>
                    <a:pt x="534" y="845"/>
                    <a:pt x="549" y="827"/>
                    <a:pt x="570" y="815"/>
                  </a:cubicBezTo>
                  <a:close/>
                  <a:moveTo>
                    <a:pt x="531" y="986"/>
                  </a:moveTo>
                  <a:lnTo>
                    <a:pt x="630" y="986"/>
                  </a:lnTo>
                  <a:lnTo>
                    <a:pt x="630" y="1106"/>
                  </a:lnTo>
                  <a:lnTo>
                    <a:pt x="532" y="1106"/>
                  </a:lnTo>
                  <a:lnTo>
                    <a:pt x="531" y="986"/>
                  </a:lnTo>
                  <a:close/>
                  <a:moveTo>
                    <a:pt x="640" y="1106"/>
                  </a:moveTo>
                  <a:lnTo>
                    <a:pt x="640" y="986"/>
                  </a:lnTo>
                  <a:lnTo>
                    <a:pt x="736" y="986"/>
                  </a:lnTo>
                  <a:lnTo>
                    <a:pt x="736" y="1106"/>
                  </a:lnTo>
                  <a:lnTo>
                    <a:pt x="640" y="1106"/>
                  </a:lnTo>
                  <a:close/>
                  <a:moveTo>
                    <a:pt x="452" y="866"/>
                  </a:moveTo>
                  <a:cubicBezTo>
                    <a:pt x="450" y="824"/>
                    <a:pt x="401" y="790"/>
                    <a:pt x="341" y="790"/>
                  </a:cubicBezTo>
                  <a:cubicBezTo>
                    <a:pt x="280" y="790"/>
                    <a:pt x="232" y="824"/>
                    <a:pt x="230" y="866"/>
                  </a:cubicBezTo>
                  <a:lnTo>
                    <a:pt x="230" y="1122"/>
                  </a:lnTo>
                  <a:lnTo>
                    <a:pt x="452" y="1122"/>
                  </a:lnTo>
                  <a:lnTo>
                    <a:pt x="452" y="866"/>
                  </a:lnTo>
                  <a:close/>
                  <a:moveTo>
                    <a:pt x="443" y="869"/>
                  </a:moveTo>
                  <a:lnTo>
                    <a:pt x="352" y="869"/>
                  </a:lnTo>
                  <a:lnTo>
                    <a:pt x="405" y="819"/>
                  </a:lnTo>
                  <a:cubicBezTo>
                    <a:pt x="426" y="831"/>
                    <a:pt x="440" y="849"/>
                    <a:pt x="443" y="869"/>
                  </a:cubicBezTo>
                  <a:close/>
                  <a:moveTo>
                    <a:pt x="345" y="869"/>
                  </a:moveTo>
                  <a:lnTo>
                    <a:pt x="345" y="803"/>
                  </a:lnTo>
                  <a:cubicBezTo>
                    <a:pt x="366" y="804"/>
                    <a:pt x="385" y="809"/>
                    <a:pt x="401" y="817"/>
                  </a:cubicBezTo>
                  <a:lnTo>
                    <a:pt x="345" y="869"/>
                  </a:lnTo>
                  <a:lnTo>
                    <a:pt x="345" y="869"/>
                  </a:lnTo>
                  <a:close/>
                  <a:moveTo>
                    <a:pt x="340" y="869"/>
                  </a:moveTo>
                  <a:lnTo>
                    <a:pt x="339" y="869"/>
                  </a:lnTo>
                  <a:lnTo>
                    <a:pt x="339" y="869"/>
                  </a:lnTo>
                  <a:lnTo>
                    <a:pt x="282" y="816"/>
                  </a:lnTo>
                  <a:cubicBezTo>
                    <a:pt x="299" y="808"/>
                    <a:pt x="318" y="803"/>
                    <a:pt x="340" y="803"/>
                  </a:cubicBezTo>
                  <a:lnTo>
                    <a:pt x="340" y="869"/>
                  </a:lnTo>
                  <a:close/>
                  <a:moveTo>
                    <a:pt x="338" y="878"/>
                  </a:moveTo>
                  <a:lnTo>
                    <a:pt x="338" y="983"/>
                  </a:lnTo>
                  <a:lnTo>
                    <a:pt x="239" y="983"/>
                  </a:lnTo>
                  <a:lnTo>
                    <a:pt x="238" y="878"/>
                  </a:lnTo>
                  <a:lnTo>
                    <a:pt x="338" y="878"/>
                  </a:lnTo>
                  <a:close/>
                  <a:moveTo>
                    <a:pt x="348" y="878"/>
                  </a:moveTo>
                  <a:lnTo>
                    <a:pt x="443" y="878"/>
                  </a:lnTo>
                  <a:lnTo>
                    <a:pt x="443" y="983"/>
                  </a:lnTo>
                  <a:lnTo>
                    <a:pt x="348" y="983"/>
                  </a:lnTo>
                  <a:lnTo>
                    <a:pt x="348" y="878"/>
                  </a:lnTo>
                  <a:close/>
                  <a:moveTo>
                    <a:pt x="278" y="818"/>
                  </a:moveTo>
                  <a:lnTo>
                    <a:pt x="332" y="869"/>
                  </a:lnTo>
                  <a:lnTo>
                    <a:pt x="239" y="869"/>
                  </a:lnTo>
                  <a:cubicBezTo>
                    <a:pt x="241" y="849"/>
                    <a:pt x="256" y="830"/>
                    <a:pt x="278" y="818"/>
                  </a:cubicBezTo>
                  <a:close/>
                  <a:moveTo>
                    <a:pt x="239" y="990"/>
                  </a:moveTo>
                  <a:lnTo>
                    <a:pt x="338" y="990"/>
                  </a:lnTo>
                  <a:lnTo>
                    <a:pt x="338" y="1109"/>
                  </a:lnTo>
                  <a:lnTo>
                    <a:pt x="239" y="1109"/>
                  </a:lnTo>
                  <a:lnTo>
                    <a:pt x="239" y="990"/>
                  </a:lnTo>
                  <a:close/>
                  <a:moveTo>
                    <a:pt x="348" y="1109"/>
                  </a:moveTo>
                  <a:lnTo>
                    <a:pt x="348" y="990"/>
                  </a:lnTo>
                  <a:lnTo>
                    <a:pt x="443" y="990"/>
                  </a:lnTo>
                  <a:lnTo>
                    <a:pt x="443" y="1109"/>
                  </a:lnTo>
                  <a:lnTo>
                    <a:pt x="348" y="1109"/>
                  </a:lnTo>
                  <a:close/>
                  <a:moveTo>
                    <a:pt x="460" y="2007"/>
                  </a:moveTo>
                  <a:lnTo>
                    <a:pt x="222" y="2007"/>
                  </a:lnTo>
                  <a:lnTo>
                    <a:pt x="221" y="1731"/>
                  </a:lnTo>
                  <a:cubicBezTo>
                    <a:pt x="223" y="1686"/>
                    <a:pt x="276" y="1650"/>
                    <a:pt x="341" y="1650"/>
                  </a:cubicBezTo>
                  <a:cubicBezTo>
                    <a:pt x="406" y="1650"/>
                    <a:pt x="458" y="1686"/>
                    <a:pt x="460" y="1731"/>
                  </a:cubicBezTo>
                  <a:lnTo>
                    <a:pt x="460" y="1731"/>
                  </a:lnTo>
                  <a:lnTo>
                    <a:pt x="460" y="2007"/>
                  </a:lnTo>
                  <a:close/>
                  <a:moveTo>
                    <a:pt x="460" y="1569"/>
                  </a:moveTo>
                  <a:lnTo>
                    <a:pt x="222" y="1569"/>
                  </a:lnTo>
                  <a:lnTo>
                    <a:pt x="221" y="1294"/>
                  </a:lnTo>
                  <a:cubicBezTo>
                    <a:pt x="223" y="1248"/>
                    <a:pt x="276" y="1212"/>
                    <a:pt x="341" y="1212"/>
                  </a:cubicBezTo>
                  <a:cubicBezTo>
                    <a:pt x="406" y="1212"/>
                    <a:pt x="458" y="1248"/>
                    <a:pt x="460" y="1294"/>
                  </a:cubicBezTo>
                  <a:lnTo>
                    <a:pt x="460" y="1294"/>
                  </a:lnTo>
                  <a:lnTo>
                    <a:pt x="460" y="1569"/>
                  </a:lnTo>
                  <a:close/>
                  <a:moveTo>
                    <a:pt x="460" y="1131"/>
                  </a:moveTo>
                  <a:lnTo>
                    <a:pt x="222" y="1131"/>
                  </a:lnTo>
                  <a:lnTo>
                    <a:pt x="221" y="856"/>
                  </a:lnTo>
                  <a:cubicBezTo>
                    <a:pt x="223" y="810"/>
                    <a:pt x="276" y="774"/>
                    <a:pt x="341" y="774"/>
                  </a:cubicBezTo>
                  <a:cubicBezTo>
                    <a:pt x="406" y="774"/>
                    <a:pt x="458" y="810"/>
                    <a:pt x="460" y="856"/>
                  </a:cubicBezTo>
                  <a:lnTo>
                    <a:pt x="460" y="856"/>
                  </a:lnTo>
                  <a:lnTo>
                    <a:pt x="460" y="1131"/>
                  </a:lnTo>
                  <a:close/>
                  <a:moveTo>
                    <a:pt x="752" y="2007"/>
                  </a:moveTo>
                  <a:lnTo>
                    <a:pt x="514" y="2007"/>
                  </a:lnTo>
                  <a:lnTo>
                    <a:pt x="513" y="1731"/>
                  </a:lnTo>
                  <a:cubicBezTo>
                    <a:pt x="515" y="1686"/>
                    <a:pt x="568" y="1650"/>
                    <a:pt x="633" y="1650"/>
                  </a:cubicBezTo>
                  <a:cubicBezTo>
                    <a:pt x="698" y="1650"/>
                    <a:pt x="750" y="1686"/>
                    <a:pt x="752" y="1731"/>
                  </a:cubicBezTo>
                  <a:lnTo>
                    <a:pt x="752" y="1731"/>
                  </a:lnTo>
                  <a:lnTo>
                    <a:pt x="752" y="2007"/>
                  </a:lnTo>
                  <a:close/>
                  <a:moveTo>
                    <a:pt x="752" y="1569"/>
                  </a:moveTo>
                  <a:lnTo>
                    <a:pt x="514" y="1569"/>
                  </a:lnTo>
                  <a:lnTo>
                    <a:pt x="513" y="1294"/>
                  </a:lnTo>
                  <a:cubicBezTo>
                    <a:pt x="515" y="1248"/>
                    <a:pt x="568" y="1212"/>
                    <a:pt x="633" y="1212"/>
                  </a:cubicBezTo>
                  <a:cubicBezTo>
                    <a:pt x="698" y="1212"/>
                    <a:pt x="750" y="1248"/>
                    <a:pt x="752" y="1294"/>
                  </a:cubicBezTo>
                  <a:lnTo>
                    <a:pt x="752" y="1294"/>
                  </a:lnTo>
                  <a:lnTo>
                    <a:pt x="752" y="1569"/>
                  </a:lnTo>
                  <a:close/>
                  <a:moveTo>
                    <a:pt x="752" y="1131"/>
                  </a:moveTo>
                  <a:lnTo>
                    <a:pt x="514" y="1131"/>
                  </a:lnTo>
                  <a:lnTo>
                    <a:pt x="513" y="856"/>
                  </a:lnTo>
                  <a:cubicBezTo>
                    <a:pt x="515" y="810"/>
                    <a:pt x="568" y="774"/>
                    <a:pt x="633" y="774"/>
                  </a:cubicBezTo>
                  <a:cubicBezTo>
                    <a:pt x="698" y="774"/>
                    <a:pt x="750" y="810"/>
                    <a:pt x="752" y="856"/>
                  </a:cubicBezTo>
                  <a:lnTo>
                    <a:pt x="752" y="856"/>
                  </a:lnTo>
                  <a:lnTo>
                    <a:pt x="752" y="1131"/>
                  </a:lnTo>
                  <a:close/>
                  <a:moveTo>
                    <a:pt x="1044" y="2007"/>
                  </a:moveTo>
                  <a:lnTo>
                    <a:pt x="806" y="2007"/>
                  </a:lnTo>
                  <a:lnTo>
                    <a:pt x="805" y="1731"/>
                  </a:lnTo>
                  <a:cubicBezTo>
                    <a:pt x="807" y="1686"/>
                    <a:pt x="860" y="1650"/>
                    <a:pt x="925" y="1650"/>
                  </a:cubicBezTo>
                  <a:cubicBezTo>
                    <a:pt x="990" y="1650"/>
                    <a:pt x="1042" y="1686"/>
                    <a:pt x="1044" y="1731"/>
                  </a:cubicBezTo>
                  <a:lnTo>
                    <a:pt x="1044" y="1731"/>
                  </a:lnTo>
                  <a:lnTo>
                    <a:pt x="1044" y="2007"/>
                  </a:lnTo>
                  <a:close/>
                  <a:moveTo>
                    <a:pt x="1044" y="1569"/>
                  </a:moveTo>
                  <a:lnTo>
                    <a:pt x="806" y="1569"/>
                  </a:lnTo>
                  <a:lnTo>
                    <a:pt x="805" y="1294"/>
                  </a:lnTo>
                  <a:cubicBezTo>
                    <a:pt x="807" y="1248"/>
                    <a:pt x="860" y="1212"/>
                    <a:pt x="925" y="1212"/>
                  </a:cubicBezTo>
                  <a:cubicBezTo>
                    <a:pt x="990" y="1212"/>
                    <a:pt x="1042" y="1248"/>
                    <a:pt x="1044" y="1294"/>
                  </a:cubicBezTo>
                  <a:lnTo>
                    <a:pt x="1044" y="1294"/>
                  </a:lnTo>
                  <a:lnTo>
                    <a:pt x="1044" y="1569"/>
                  </a:lnTo>
                  <a:close/>
                  <a:moveTo>
                    <a:pt x="1044" y="1131"/>
                  </a:moveTo>
                  <a:lnTo>
                    <a:pt x="806" y="1131"/>
                  </a:lnTo>
                  <a:lnTo>
                    <a:pt x="805" y="856"/>
                  </a:lnTo>
                  <a:cubicBezTo>
                    <a:pt x="807" y="810"/>
                    <a:pt x="860" y="774"/>
                    <a:pt x="925" y="774"/>
                  </a:cubicBezTo>
                  <a:cubicBezTo>
                    <a:pt x="990" y="774"/>
                    <a:pt x="1042" y="810"/>
                    <a:pt x="1044" y="856"/>
                  </a:cubicBezTo>
                  <a:lnTo>
                    <a:pt x="1044" y="856"/>
                  </a:lnTo>
                  <a:lnTo>
                    <a:pt x="1044" y="1131"/>
                  </a:lnTo>
                  <a:close/>
                  <a:moveTo>
                    <a:pt x="1336" y="2007"/>
                  </a:moveTo>
                  <a:lnTo>
                    <a:pt x="1098" y="2007"/>
                  </a:lnTo>
                  <a:lnTo>
                    <a:pt x="1097" y="1731"/>
                  </a:lnTo>
                  <a:cubicBezTo>
                    <a:pt x="1099" y="1686"/>
                    <a:pt x="1152" y="1650"/>
                    <a:pt x="1217" y="1650"/>
                  </a:cubicBezTo>
                  <a:cubicBezTo>
                    <a:pt x="1281" y="1650"/>
                    <a:pt x="1334" y="1686"/>
                    <a:pt x="1336" y="1731"/>
                  </a:cubicBezTo>
                  <a:lnTo>
                    <a:pt x="1336" y="1731"/>
                  </a:lnTo>
                  <a:lnTo>
                    <a:pt x="1336" y="2007"/>
                  </a:lnTo>
                  <a:close/>
                  <a:moveTo>
                    <a:pt x="1336" y="1569"/>
                  </a:moveTo>
                  <a:lnTo>
                    <a:pt x="1098" y="1569"/>
                  </a:lnTo>
                  <a:lnTo>
                    <a:pt x="1097" y="1294"/>
                  </a:lnTo>
                  <a:cubicBezTo>
                    <a:pt x="1099" y="1248"/>
                    <a:pt x="1152" y="1212"/>
                    <a:pt x="1217" y="1212"/>
                  </a:cubicBezTo>
                  <a:cubicBezTo>
                    <a:pt x="1281" y="1212"/>
                    <a:pt x="1334" y="1248"/>
                    <a:pt x="1336" y="1294"/>
                  </a:cubicBezTo>
                  <a:lnTo>
                    <a:pt x="1336" y="1294"/>
                  </a:lnTo>
                  <a:lnTo>
                    <a:pt x="1336" y="1569"/>
                  </a:lnTo>
                  <a:close/>
                  <a:moveTo>
                    <a:pt x="1336" y="1131"/>
                  </a:moveTo>
                  <a:lnTo>
                    <a:pt x="1098" y="1131"/>
                  </a:lnTo>
                  <a:lnTo>
                    <a:pt x="1097" y="856"/>
                  </a:lnTo>
                  <a:cubicBezTo>
                    <a:pt x="1099" y="810"/>
                    <a:pt x="1152" y="774"/>
                    <a:pt x="1217" y="774"/>
                  </a:cubicBezTo>
                  <a:cubicBezTo>
                    <a:pt x="1281" y="774"/>
                    <a:pt x="1334" y="810"/>
                    <a:pt x="1336" y="856"/>
                  </a:cubicBezTo>
                  <a:lnTo>
                    <a:pt x="1336" y="856"/>
                  </a:lnTo>
                  <a:lnTo>
                    <a:pt x="1336" y="1131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rgbClr val="377A6C"/>
              </a:solidFill>
            </a:ln>
          </p:spPr>
          <p:txBody>
            <a:bodyPr lIns="91440" tIns="45720" rIns="91440" bIns="45720"/>
            <a:lstStyle/>
            <a:p>
              <a:pPr>
                <a:defRPr/>
              </a:pPr>
              <a:endParaRPr lang="ru-RU" sz="140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0" name="Овал 49">
              <a:extLst>
                <a:ext uri="{FF2B5EF4-FFF2-40B4-BE49-F238E27FC236}">
                  <a16:creationId xmlns:a16="http://schemas.microsoft.com/office/drawing/2014/main" id="{DE488807-6A26-477C-9160-5B1AC85D459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754536" y="2294038"/>
              <a:ext cx="540113" cy="539809"/>
            </a:xfrm>
            <a:prstGeom prst="ellipse">
              <a:avLst/>
            </a:prstGeom>
            <a:solidFill>
              <a:srgbClr val="377A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r>
                <a:rPr lang="en-US" sz="1400" b="1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1</a:t>
              </a:r>
              <a:endPara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7221" name="Группа 79"/>
          <p:cNvGrpSpPr>
            <a:grpSpLocks/>
          </p:cNvGrpSpPr>
          <p:nvPr/>
        </p:nvGrpSpPr>
        <p:grpSpPr bwMode="auto">
          <a:xfrm>
            <a:off x="1263312" y="6170439"/>
            <a:ext cx="1898015" cy="2539417"/>
            <a:chOff x="1049945" y="2136317"/>
            <a:chExt cx="1898174" cy="2645727"/>
          </a:xfrm>
        </p:grpSpPr>
        <p:sp>
          <p:nvSpPr>
            <p:cNvPr id="81" name="Freeform 31">
              <a:extLst>
                <a:ext uri="{FF2B5EF4-FFF2-40B4-BE49-F238E27FC236}">
                  <a16:creationId xmlns:a16="http://schemas.microsoft.com/office/drawing/2014/main" id="{71C7CC78-880C-4AB6-B364-3C3C629D04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49945" y="2136317"/>
              <a:ext cx="1898174" cy="2645727"/>
            </a:xfrm>
            <a:custGeom>
              <a:avLst/>
              <a:gdLst>
                <a:gd name="T0" fmla="*/ 1071 w 1537"/>
                <a:gd name="T1" fmla="*/ 69 h 2171"/>
                <a:gd name="T2" fmla="*/ 0 w 1537"/>
                <a:gd name="T3" fmla="*/ 513 h 2171"/>
                <a:gd name="T4" fmla="*/ 884 w 1537"/>
                <a:gd name="T5" fmla="*/ 399 h 2171"/>
                <a:gd name="T6" fmla="*/ 774 w 1537"/>
                <a:gd name="T7" fmla="*/ 407 h 2171"/>
                <a:gd name="T8" fmla="*/ 1257 w 1537"/>
                <a:gd name="T9" fmla="*/ 341 h 2171"/>
                <a:gd name="T10" fmla="*/ 1326 w 1537"/>
                <a:gd name="T11" fmla="*/ 341 h 2171"/>
                <a:gd name="T12" fmla="*/ 1327 w 1537"/>
                <a:gd name="T13" fmla="*/ 418 h 2171"/>
                <a:gd name="T14" fmla="*/ 226 w 1537"/>
                <a:gd name="T15" fmla="*/ 418 h 2171"/>
                <a:gd name="T16" fmla="*/ 226 w 1537"/>
                <a:gd name="T17" fmla="*/ 341 h 2171"/>
                <a:gd name="T18" fmla="*/ 297 w 1537"/>
                <a:gd name="T19" fmla="*/ 297 h 2171"/>
                <a:gd name="T20" fmla="*/ 624 w 1537"/>
                <a:gd name="T21" fmla="*/ 403 h 2171"/>
                <a:gd name="T22" fmla="*/ 1105 w 1537"/>
                <a:gd name="T23" fmla="*/ 1740 h 2171"/>
                <a:gd name="T24" fmla="*/ 1220 w 1537"/>
                <a:gd name="T25" fmla="*/ 1743 h 2171"/>
                <a:gd name="T26" fmla="*/ 1318 w 1537"/>
                <a:gd name="T27" fmla="*/ 1752 h 2171"/>
                <a:gd name="T28" fmla="*/ 1223 w 1537"/>
                <a:gd name="T29" fmla="*/ 1983 h 2171"/>
                <a:gd name="T30" fmla="*/ 990 w 1537"/>
                <a:gd name="T31" fmla="*/ 1691 h 2171"/>
                <a:gd name="T32" fmla="*/ 925 w 1537"/>
                <a:gd name="T33" fmla="*/ 1741 h 2171"/>
                <a:gd name="T34" fmla="*/ 823 w 1537"/>
                <a:gd name="T35" fmla="*/ 1741 h 2171"/>
                <a:gd name="T36" fmla="*/ 632 w 1537"/>
                <a:gd name="T37" fmla="*/ 1664 h 2171"/>
                <a:gd name="T38" fmla="*/ 637 w 1537"/>
                <a:gd name="T39" fmla="*/ 1743 h 2171"/>
                <a:gd name="T40" fmla="*/ 639 w 1537"/>
                <a:gd name="T41" fmla="*/ 1752 h 2171"/>
                <a:gd name="T42" fmla="*/ 530 w 1537"/>
                <a:gd name="T43" fmla="*/ 1864 h 2171"/>
                <a:gd name="T44" fmla="*/ 350 w 1537"/>
                <a:gd name="T45" fmla="*/ 1743 h 2171"/>
                <a:gd name="T46" fmla="*/ 338 w 1537"/>
                <a:gd name="T47" fmla="*/ 1677 h 2171"/>
                <a:gd name="T48" fmla="*/ 331 w 1537"/>
                <a:gd name="T49" fmla="*/ 1743 h 2171"/>
                <a:gd name="T50" fmla="*/ 451 w 1537"/>
                <a:gd name="T51" fmla="*/ 1300 h 2171"/>
                <a:gd name="T52" fmla="*/ 345 w 1537"/>
                <a:gd name="T53" fmla="*/ 1303 h 2171"/>
                <a:gd name="T54" fmla="*/ 337 w 1537"/>
                <a:gd name="T55" fmla="*/ 1311 h 2171"/>
                <a:gd name="T56" fmla="*/ 238 w 1537"/>
                <a:gd name="T57" fmla="*/ 1543 h 2171"/>
                <a:gd name="T58" fmla="*/ 735 w 1537"/>
                <a:gd name="T59" fmla="*/ 1305 h 2171"/>
                <a:gd name="T60" fmla="*/ 575 w 1537"/>
                <a:gd name="T61" fmla="*/ 1252 h 2171"/>
                <a:gd name="T62" fmla="*/ 570 w 1537"/>
                <a:gd name="T63" fmla="*/ 1254 h 2171"/>
                <a:gd name="T64" fmla="*/ 640 w 1537"/>
                <a:gd name="T65" fmla="*/ 1545 h 2171"/>
                <a:gd name="T66" fmla="*/ 986 w 1537"/>
                <a:gd name="T67" fmla="*/ 1251 h 2171"/>
                <a:gd name="T68" fmla="*/ 823 w 1537"/>
                <a:gd name="T69" fmla="*/ 1311 h 2171"/>
                <a:gd name="T70" fmla="*/ 922 w 1537"/>
                <a:gd name="T71" fmla="*/ 1543 h 2171"/>
                <a:gd name="T72" fmla="*/ 1327 w 1537"/>
                <a:gd name="T73" fmla="*/ 1300 h 2171"/>
                <a:gd name="T74" fmla="*/ 1214 w 1537"/>
                <a:gd name="T75" fmla="*/ 1303 h 2171"/>
                <a:gd name="T76" fmla="*/ 1223 w 1537"/>
                <a:gd name="T77" fmla="*/ 1311 h 2171"/>
                <a:gd name="T78" fmla="*/ 1318 w 1537"/>
                <a:gd name="T79" fmla="*/ 1543 h 2171"/>
                <a:gd name="T80" fmla="*/ 1220 w 1537"/>
                <a:gd name="T81" fmla="*/ 796 h 2171"/>
                <a:gd name="T82" fmla="*/ 1114 w 1537"/>
                <a:gd name="T83" fmla="*/ 977 h 2171"/>
                <a:gd name="T84" fmla="*/ 1213 w 1537"/>
                <a:gd name="T85" fmla="*/ 983 h 2171"/>
                <a:gd name="T86" fmla="*/ 1036 w 1537"/>
                <a:gd name="T87" fmla="*/ 1117 h 2171"/>
                <a:gd name="T88" fmla="*/ 924 w 1537"/>
                <a:gd name="T89" fmla="*/ 864 h 2171"/>
                <a:gd name="T90" fmla="*/ 932 w 1537"/>
                <a:gd name="T91" fmla="*/ 978 h 2171"/>
                <a:gd name="T92" fmla="*/ 1028 w 1537"/>
                <a:gd name="T93" fmla="*/ 984 h 2171"/>
                <a:gd name="T94" fmla="*/ 637 w 1537"/>
                <a:gd name="T95" fmla="*/ 866 h 2171"/>
                <a:gd name="T96" fmla="*/ 630 w 1537"/>
                <a:gd name="T97" fmla="*/ 980 h 2171"/>
                <a:gd name="T98" fmla="*/ 531 w 1537"/>
                <a:gd name="T99" fmla="*/ 986 h 2171"/>
                <a:gd name="T100" fmla="*/ 230 w 1537"/>
                <a:gd name="T101" fmla="*/ 1122 h 2171"/>
                <a:gd name="T102" fmla="*/ 339 w 1537"/>
                <a:gd name="T103" fmla="*/ 869 h 2171"/>
                <a:gd name="T104" fmla="*/ 348 w 1537"/>
                <a:gd name="T105" fmla="*/ 983 h 2171"/>
                <a:gd name="T106" fmla="*/ 443 w 1537"/>
                <a:gd name="T107" fmla="*/ 990 h 2171"/>
                <a:gd name="T108" fmla="*/ 341 w 1537"/>
                <a:gd name="T109" fmla="*/ 1212 h 2171"/>
                <a:gd name="T110" fmla="*/ 513 w 1537"/>
                <a:gd name="T111" fmla="*/ 1731 h 2171"/>
                <a:gd name="T112" fmla="*/ 514 w 1537"/>
                <a:gd name="T113" fmla="*/ 1131 h 2171"/>
                <a:gd name="T114" fmla="*/ 1044 w 1537"/>
                <a:gd name="T115" fmla="*/ 1569 h 2171"/>
                <a:gd name="T116" fmla="*/ 1044 w 1537"/>
                <a:gd name="T117" fmla="*/ 1131 h 2171"/>
                <a:gd name="T118" fmla="*/ 1336 w 1537"/>
                <a:gd name="T119" fmla="*/ 1294 h 2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537" h="2171">
                  <a:moveTo>
                    <a:pt x="44" y="624"/>
                  </a:moveTo>
                  <a:lnTo>
                    <a:pt x="44" y="2171"/>
                  </a:lnTo>
                  <a:lnTo>
                    <a:pt x="1489" y="2171"/>
                  </a:lnTo>
                  <a:lnTo>
                    <a:pt x="1489" y="624"/>
                  </a:lnTo>
                  <a:lnTo>
                    <a:pt x="44" y="624"/>
                  </a:lnTo>
                  <a:close/>
                  <a:moveTo>
                    <a:pt x="1492" y="513"/>
                  </a:moveTo>
                  <a:lnTo>
                    <a:pt x="1349" y="228"/>
                  </a:lnTo>
                  <a:lnTo>
                    <a:pt x="1318" y="228"/>
                  </a:lnTo>
                  <a:lnTo>
                    <a:pt x="1318" y="146"/>
                  </a:lnTo>
                  <a:lnTo>
                    <a:pt x="1172" y="146"/>
                  </a:lnTo>
                  <a:lnTo>
                    <a:pt x="1172" y="228"/>
                  </a:lnTo>
                  <a:lnTo>
                    <a:pt x="1151" y="228"/>
                  </a:lnTo>
                  <a:lnTo>
                    <a:pt x="1071" y="69"/>
                  </a:lnTo>
                  <a:lnTo>
                    <a:pt x="610" y="69"/>
                  </a:lnTo>
                  <a:lnTo>
                    <a:pt x="610" y="0"/>
                  </a:lnTo>
                  <a:lnTo>
                    <a:pt x="529" y="0"/>
                  </a:lnTo>
                  <a:lnTo>
                    <a:pt x="529" y="69"/>
                  </a:lnTo>
                  <a:lnTo>
                    <a:pt x="473" y="69"/>
                  </a:lnTo>
                  <a:lnTo>
                    <a:pt x="393" y="228"/>
                  </a:lnTo>
                  <a:lnTo>
                    <a:pt x="365" y="228"/>
                  </a:lnTo>
                  <a:lnTo>
                    <a:pt x="365" y="146"/>
                  </a:lnTo>
                  <a:lnTo>
                    <a:pt x="219" y="146"/>
                  </a:lnTo>
                  <a:lnTo>
                    <a:pt x="219" y="228"/>
                  </a:lnTo>
                  <a:lnTo>
                    <a:pt x="195" y="228"/>
                  </a:lnTo>
                  <a:lnTo>
                    <a:pt x="52" y="513"/>
                  </a:lnTo>
                  <a:lnTo>
                    <a:pt x="0" y="513"/>
                  </a:lnTo>
                  <a:lnTo>
                    <a:pt x="0" y="607"/>
                  </a:lnTo>
                  <a:lnTo>
                    <a:pt x="1537" y="607"/>
                  </a:lnTo>
                  <a:lnTo>
                    <a:pt x="1537" y="513"/>
                  </a:lnTo>
                  <a:lnTo>
                    <a:pt x="1492" y="513"/>
                  </a:lnTo>
                  <a:close/>
                  <a:moveTo>
                    <a:pt x="895" y="403"/>
                  </a:moveTo>
                  <a:cubicBezTo>
                    <a:pt x="895" y="354"/>
                    <a:pt x="839" y="314"/>
                    <a:pt x="770" y="314"/>
                  </a:cubicBezTo>
                  <a:cubicBezTo>
                    <a:pt x="701" y="314"/>
                    <a:pt x="645" y="354"/>
                    <a:pt x="645" y="403"/>
                  </a:cubicBezTo>
                  <a:cubicBezTo>
                    <a:pt x="645" y="451"/>
                    <a:pt x="699" y="490"/>
                    <a:pt x="767" y="491"/>
                  </a:cubicBezTo>
                  <a:lnTo>
                    <a:pt x="767" y="492"/>
                  </a:lnTo>
                  <a:lnTo>
                    <a:pt x="774" y="492"/>
                  </a:lnTo>
                  <a:lnTo>
                    <a:pt x="774" y="491"/>
                  </a:lnTo>
                  <a:cubicBezTo>
                    <a:pt x="841" y="490"/>
                    <a:pt x="895" y="451"/>
                    <a:pt x="895" y="403"/>
                  </a:cubicBezTo>
                  <a:close/>
                  <a:moveTo>
                    <a:pt x="884" y="399"/>
                  </a:moveTo>
                  <a:lnTo>
                    <a:pt x="774" y="399"/>
                  </a:lnTo>
                  <a:lnTo>
                    <a:pt x="774" y="322"/>
                  </a:lnTo>
                  <a:cubicBezTo>
                    <a:pt x="833" y="323"/>
                    <a:pt x="881" y="356"/>
                    <a:pt x="884" y="399"/>
                  </a:cubicBezTo>
                  <a:close/>
                  <a:moveTo>
                    <a:pt x="767" y="322"/>
                  </a:moveTo>
                  <a:lnTo>
                    <a:pt x="767" y="399"/>
                  </a:lnTo>
                  <a:lnTo>
                    <a:pt x="656" y="399"/>
                  </a:lnTo>
                  <a:cubicBezTo>
                    <a:pt x="659" y="356"/>
                    <a:pt x="707" y="323"/>
                    <a:pt x="767" y="322"/>
                  </a:cubicBezTo>
                  <a:close/>
                  <a:moveTo>
                    <a:pt x="656" y="407"/>
                  </a:moveTo>
                  <a:lnTo>
                    <a:pt x="767" y="407"/>
                  </a:lnTo>
                  <a:lnTo>
                    <a:pt x="767" y="484"/>
                  </a:lnTo>
                  <a:cubicBezTo>
                    <a:pt x="707" y="482"/>
                    <a:pt x="659" y="449"/>
                    <a:pt x="656" y="407"/>
                  </a:cubicBezTo>
                  <a:close/>
                  <a:moveTo>
                    <a:pt x="774" y="484"/>
                  </a:moveTo>
                  <a:lnTo>
                    <a:pt x="774" y="407"/>
                  </a:lnTo>
                  <a:lnTo>
                    <a:pt x="884" y="407"/>
                  </a:lnTo>
                  <a:cubicBezTo>
                    <a:pt x="881" y="449"/>
                    <a:pt x="833" y="482"/>
                    <a:pt x="774" y="484"/>
                  </a:cubicBezTo>
                  <a:close/>
                  <a:moveTo>
                    <a:pt x="299" y="418"/>
                  </a:moveTo>
                  <a:lnTo>
                    <a:pt x="363" y="418"/>
                  </a:lnTo>
                  <a:lnTo>
                    <a:pt x="363" y="347"/>
                  </a:lnTo>
                  <a:lnTo>
                    <a:pt x="299" y="347"/>
                  </a:lnTo>
                  <a:lnTo>
                    <a:pt x="299" y="418"/>
                  </a:lnTo>
                  <a:close/>
                  <a:moveTo>
                    <a:pt x="1216" y="307"/>
                  </a:moveTo>
                  <a:cubicBezTo>
                    <a:pt x="1201" y="315"/>
                    <a:pt x="1191" y="327"/>
                    <a:pt x="1190" y="341"/>
                  </a:cubicBezTo>
                  <a:lnTo>
                    <a:pt x="1253" y="341"/>
                  </a:lnTo>
                  <a:lnTo>
                    <a:pt x="1216" y="307"/>
                  </a:lnTo>
                  <a:close/>
                  <a:moveTo>
                    <a:pt x="1257" y="341"/>
                  </a:moveTo>
                  <a:lnTo>
                    <a:pt x="1257" y="341"/>
                  </a:lnTo>
                  <a:lnTo>
                    <a:pt x="1258" y="341"/>
                  </a:lnTo>
                  <a:lnTo>
                    <a:pt x="1258" y="297"/>
                  </a:lnTo>
                  <a:cubicBezTo>
                    <a:pt x="1243" y="297"/>
                    <a:pt x="1230" y="300"/>
                    <a:pt x="1219" y="305"/>
                  </a:cubicBezTo>
                  <a:lnTo>
                    <a:pt x="1257" y="341"/>
                  </a:lnTo>
                  <a:close/>
                  <a:moveTo>
                    <a:pt x="1190" y="418"/>
                  </a:moveTo>
                  <a:lnTo>
                    <a:pt x="1256" y="418"/>
                  </a:lnTo>
                  <a:lnTo>
                    <a:pt x="1256" y="347"/>
                  </a:lnTo>
                  <a:lnTo>
                    <a:pt x="1189" y="347"/>
                  </a:lnTo>
                  <a:lnTo>
                    <a:pt x="1190" y="418"/>
                  </a:lnTo>
                  <a:close/>
                  <a:moveTo>
                    <a:pt x="1326" y="341"/>
                  </a:moveTo>
                  <a:cubicBezTo>
                    <a:pt x="1325" y="328"/>
                    <a:pt x="1316" y="316"/>
                    <a:pt x="1302" y="307"/>
                  </a:cubicBezTo>
                  <a:lnTo>
                    <a:pt x="1266" y="341"/>
                  </a:lnTo>
                  <a:lnTo>
                    <a:pt x="1326" y="341"/>
                  </a:lnTo>
                  <a:close/>
                  <a:moveTo>
                    <a:pt x="1190" y="502"/>
                  </a:moveTo>
                  <a:lnTo>
                    <a:pt x="1256" y="502"/>
                  </a:lnTo>
                  <a:lnTo>
                    <a:pt x="1256" y="422"/>
                  </a:lnTo>
                  <a:lnTo>
                    <a:pt x="1190" y="422"/>
                  </a:lnTo>
                  <a:lnTo>
                    <a:pt x="1190" y="502"/>
                  </a:lnTo>
                  <a:close/>
                  <a:moveTo>
                    <a:pt x="1299" y="306"/>
                  </a:moveTo>
                  <a:cubicBezTo>
                    <a:pt x="1288" y="300"/>
                    <a:pt x="1275" y="297"/>
                    <a:pt x="1261" y="297"/>
                  </a:cubicBezTo>
                  <a:lnTo>
                    <a:pt x="1261" y="341"/>
                  </a:lnTo>
                  <a:lnTo>
                    <a:pt x="1261" y="341"/>
                  </a:lnTo>
                  <a:lnTo>
                    <a:pt x="1261" y="341"/>
                  </a:lnTo>
                  <a:lnTo>
                    <a:pt x="1299" y="306"/>
                  </a:lnTo>
                  <a:close/>
                  <a:moveTo>
                    <a:pt x="1263" y="418"/>
                  </a:moveTo>
                  <a:lnTo>
                    <a:pt x="1327" y="418"/>
                  </a:lnTo>
                  <a:lnTo>
                    <a:pt x="1327" y="347"/>
                  </a:lnTo>
                  <a:lnTo>
                    <a:pt x="1263" y="347"/>
                  </a:lnTo>
                  <a:lnTo>
                    <a:pt x="1263" y="418"/>
                  </a:lnTo>
                  <a:close/>
                  <a:moveTo>
                    <a:pt x="1263" y="502"/>
                  </a:moveTo>
                  <a:lnTo>
                    <a:pt x="1327" y="502"/>
                  </a:lnTo>
                  <a:lnTo>
                    <a:pt x="1327" y="422"/>
                  </a:lnTo>
                  <a:lnTo>
                    <a:pt x="1263" y="422"/>
                  </a:lnTo>
                  <a:lnTo>
                    <a:pt x="1263" y="502"/>
                  </a:lnTo>
                  <a:close/>
                  <a:moveTo>
                    <a:pt x="226" y="418"/>
                  </a:moveTo>
                  <a:lnTo>
                    <a:pt x="293" y="418"/>
                  </a:lnTo>
                  <a:lnTo>
                    <a:pt x="293" y="347"/>
                  </a:lnTo>
                  <a:lnTo>
                    <a:pt x="226" y="347"/>
                  </a:lnTo>
                  <a:lnTo>
                    <a:pt x="226" y="418"/>
                  </a:lnTo>
                  <a:close/>
                  <a:moveTo>
                    <a:pt x="294" y="341"/>
                  </a:moveTo>
                  <a:lnTo>
                    <a:pt x="294" y="341"/>
                  </a:lnTo>
                  <a:lnTo>
                    <a:pt x="294" y="341"/>
                  </a:lnTo>
                  <a:lnTo>
                    <a:pt x="294" y="297"/>
                  </a:lnTo>
                  <a:cubicBezTo>
                    <a:pt x="280" y="297"/>
                    <a:pt x="266" y="300"/>
                    <a:pt x="255" y="305"/>
                  </a:cubicBezTo>
                  <a:lnTo>
                    <a:pt x="294" y="341"/>
                  </a:lnTo>
                  <a:close/>
                  <a:moveTo>
                    <a:pt x="226" y="502"/>
                  </a:moveTo>
                  <a:lnTo>
                    <a:pt x="293" y="502"/>
                  </a:lnTo>
                  <a:lnTo>
                    <a:pt x="293" y="422"/>
                  </a:lnTo>
                  <a:lnTo>
                    <a:pt x="226" y="422"/>
                  </a:lnTo>
                  <a:lnTo>
                    <a:pt x="226" y="502"/>
                  </a:lnTo>
                  <a:close/>
                  <a:moveTo>
                    <a:pt x="252" y="307"/>
                  </a:moveTo>
                  <a:cubicBezTo>
                    <a:pt x="238" y="315"/>
                    <a:pt x="228" y="327"/>
                    <a:pt x="226" y="341"/>
                  </a:cubicBezTo>
                  <a:lnTo>
                    <a:pt x="289" y="341"/>
                  </a:lnTo>
                  <a:lnTo>
                    <a:pt x="252" y="307"/>
                  </a:lnTo>
                  <a:close/>
                  <a:moveTo>
                    <a:pt x="363" y="341"/>
                  </a:moveTo>
                  <a:cubicBezTo>
                    <a:pt x="361" y="328"/>
                    <a:pt x="352" y="316"/>
                    <a:pt x="338" y="307"/>
                  </a:cubicBezTo>
                  <a:lnTo>
                    <a:pt x="302" y="341"/>
                  </a:lnTo>
                  <a:lnTo>
                    <a:pt x="363" y="341"/>
                  </a:lnTo>
                  <a:close/>
                  <a:moveTo>
                    <a:pt x="299" y="502"/>
                  </a:moveTo>
                  <a:lnTo>
                    <a:pt x="363" y="502"/>
                  </a:lnTo>
                  <a:lnTo>
                    <a:pt x="363" y="422"/>
                  </a:lnTo>
                  <a:lnTo>
                    <a:pt x="299" y="422"/>
                  </a:lnTo>
                  <a:lnTo>
                    <a:pt x="299" y="502"/>
                  </a:lnTo>
                  <a:close/>
                  <a:moveTo>
                    <a:pt x="335" y="306"/>
                  </a:moveTo>
                  <a:cubicBezTo>
                    <a:pt x="324" y="300"/>
                    <a:pt x="311" y="297"/>
                    <a:pt x="297" y="297"/>
                  </a:cubicBezTo>
                  <a:lnTo>
                    <a:pt x="297" y="341"/>
                  </a:lnTo>
                  <a:lnTo>
                    <a:pt x="298" y="341"/>
                  </a:lnTo>
                  <a:lnTo>
                    <a:pt x="298" y="341"/>
                  </a:lnTo>
                  <a:lnTo>
                    <a:pt x="335" y="306"/>
                  </a:lnTo>
                  <a:close/>
                  <a:moveTo>
                    <a:pt x="369" y="511"/>
                  </a:moveTo>
                  <a:lnTo>
                    <a:pt x="221" y="511"/>
                  </a:lnTo>
                  <a:lnTo>
                    <a:pt x="220" y="339"/>
                  </a:lnTo>
                  <a:cubicBezTo>
                    <a:pt x="221" y="311"/>
                    <a:pt x="254" y="288"/>
                    <a:pt x="295" y="288"/>
                  </a:cubicBezTo>
                  <a:cubicBezTo>
                    <a:pt x="335" y="288"/>
                    <a:pt x="368" y="311"/>
                    <a:pt x="369" y="339"/>
                  </a:cubicBezTo>
                  <a:lnTo>
                    <a:pt x="369" y="339"/>
                  </a:lnTo>
                  <a:lnTo>
                    <a:pt x="369" y="511"/>
                  </a:lnTo>
                  <a:close/>
                  <a:moveTo>
                    <a:pt x="772" y="495"/>
                  </a:moveTo>
                  <a:cubicBezTo>
                    <a:pt x="690" y="495"/>
                    <a:pt x="624" y="454"/>
                    <a:pt x="624" y="403"/>
                  </a:cubicBezTo>
                  <a:cubicBezTo>
                    <a:pt x="624" y="352"/>
                    <a:pt x="690" y="311"/>
                    <a:pt x="772" y="311"/>
                  </a:cubicBezTo>
                  <a:cubicBezTo>
                    <a:pt x="854" y="311"/>
                    <a:pt x="920" y="352"/>
                    <a:pt x="920" y="403"/>
                  </a:cubicBezTo>
                  <a:cubicBezTo>
                    <a:pt x="920" y="454"/>
                    <a:pt x="854" y="495"/>
                    <a:pt x="772" y="495"/>
                  </a:cubicBezTo>
                  <a:close/>
                  <a:moveTo>
                    <a:pt x="1333" y="511"/>
                  </a:moveTo>
                  <a:lnTo>
                    <a:pt x="1184" y="511"/>
                  </a:lnTo>
                  <a:lnTo>
                    <a:pt x="1184" y="339"/>
                  </a:lnTo>
                  <a:cubicBezTo>
                    <a:pt x="1185" y="311"/>
                    <a:pt x="1218" y="288"/>
                    <a:pt x="1258" y="288"/>
                  </a:cubicBezTo>
                  <a:cubicBezTo>
                    <a:pt x="1298" y="288"/>
                    <a:pt x="1331" y="311"/>
                    <a:pt x="1332" y="339"/>
                  </a:cubicBezTo>
                  <a:lnTo>
                    <a:pt x="1333" y="339"/>
                  </a:lnTo>
                  <a:lnTo>
                    <a:pt x="1333" y="511"/>
                  </a:lnTo>
                  <a:close/>
                  <a:moveTo>
                    <a:pt x="1327" y="1740"/>
                  </a:moveTo>
                  <a:cubicBezTo>
                    <a:pt x="1325" y="1698"/>
                    <a:pt x="1276" y="1664"/>
                    <a:pt x="1216" y="1664"/>
                  </a:cubicBezTo>
                  <a:cubicBezTo>
                    <a:pt x="1156" y="1664"/>
                    <a:pt x="1107" y="1698"/>
                    <a:pt x="1105" y="1740"/>
                  </a:cubicBezTo>
                  <a:lnTo>
                    <a:pt x="1106" y="1996"/>
                  </a:lnTo>
                  <a:lnTo>
                    <a:pt x="1327" y="1996"/>
                  </a:lnTo>
                  <a:lnTo>
                    <a:pt x="1327" y="1740"/>
                  </a:lnTo>
                  <a:close/>
                  <a:moveTo>
                    <a:pt x="1318" y="1743"/>
                  </a:moveTo>
                  <a:lnTo>
                    <a:pt x="1227" y="1743"/>
                  </a:lnTo>
                  <a:lnTo>
                    <a:pt x="1281" y="1693"/>
                  </a:lnTo>
                  <a:cubicBezTo>
                    <a:pt x="1302" y="1705"/>
                    <a:pt x="1316" y="1723"/>
                    <a:pt x="1318" y="1743"/>
                  </a:cubicBezTo>
                  <a:close/>
                  <a:moveTo>
                    <a:pt x="1220" y="1743"/>
                  </a:moveTo>
                  <a:lnTo>
                    <a:pt x="1220" y="1677"/>
                  </a:lnTo>
                  <a:cubicBezTo>
                    <a:pt x="1241" y="1678"/>
                    <a:pt x="1260" y="1683"/>
                    <a:pt x="1276" y="1691"/>
                  </a:cubicBezTo>
                  <a:lnTo>
                    <a:pt x="1221" y="1743"/>
                  </a:lnTo>
                  <a:lnTo>
                    <a:pt x="1221" y="1743"/>
                  </a:lnTo>
                  <a:lnTo>
                    <a:pt x="1220" y="1743"/>
                  </a:lnTo>
                  <a:close/>
                  <a:moveTo>
                    <a:pt x="1215" y="1743"/>
                  </a:moveTo>
                  <a:lnTo>
                    <a:pt x="1214" y="1743"/>
                  </a:lnTo>
                  <a:lnTo>
                    <a:pt x="1214" y="1743"/>
                  </a:lnTo>
                  <a:lnTo>
                    <a:pt x="1158" y="1690"/>
                  </a:lnTo>
                  <a:cubicBezTo>
                    <a:pt x="1174" y="1682"/>
                    <a:pt x="1194" y="1677"/>
                    <a:pt x="1215" y="1677"/>
                  </a:cubicBezTo>
                  <a:lnTo>
                    <a:pt x="1215" y="1743"/>
                  </a:lnTo>
                  <a:close/>
                  <a:moveTo>
                    <a:pt x="1213" y="1752"/>
                  </a:moveTo>
                  <a:lnTo>
                    <a:pt x="1213" y="1857"/>
                  </a:lnTo>
                  <a:lnTo>
                    <a:pt x="1114" y="1857"/>
                  </a:lnTo>
                  <a:lnTo>
                    <a:pt x="1114" y="1752"/>
                  </a:lnTo>
                  <a:lnTo>
                    <a:pt x="1213" y="1752"/>
                  </a:lnTo>
                  <a:close/>
                  <a:moveTo>
                    <a:pt x="1223" y="1752"/>
                  </a:moveTo>
                  <a:lnTo>
                    <a:pt x="1318" y="1752"/>
                  </a:lnTo>
                  <a:lnTo>
                    <a:pt x="1318" y="1857"/>
                  </a:lnTo>
                  <a:lnTo>
                    <a:pt x="1223" y="1857"/>
                  </a:lnTo>
                  <a:lnTo>
                    <a:pt x="1223" y="1752"/>
                  </a:lnTo>
                  <a:close/>
                  <a:moveTo>
                    <a:pt x="1153" y="1692"/>
                  </a:moveTo>
                  <a:lnTo>
                    <a:pt x="1208" y="1743"/>
                  </a:lnTo>
                  <a:lnTo>
                    <a:pt x="1114" y="1743"/>
                  </a:lnTo>
                  <a:cubicBezTo>
                    <a:pt x="1116" y="1723"/>
                    <a:pt x="1131" y="1704"/>
                    <a:pt x="1153" y="1692"/>
                  </a:cubicBezTo>
                  <a:close/>
                  <a:moveTo>
                    <a:pt x="1114" y="1864"/>
                  </a:moveTo>
                  <a:lnTo>
                    <a:pt x="1213" y="1864"/>
                  </a:lnTo>
                  <a:lnTo>
                    <a:pt x="1213" y="1983"/>
                  </a:lnTo>
                  <a:lnTo>
                    <a:pt x="1114" y="1983"/>
                  </a:lnTo>
                  <a:lnTo>
                    <a:pt x="1114" y="1864"/>
                  </a:lnTo>
                  <a:close/>
                  <a:moveTo>
                    <a:pt x="1223" y="1983"/>
                  </a:moveTo>
                  <a:lnTo>
                    <a:pt x="1223" y="1864"/>
                  </a:lnTo>
                  <a:lnTo>
                    <a:pt x="1318" y="1864"/>
                  </a:lnTo>
                  <a:lnTo>
                    <a:pt x="1318" y="1983"/>
                  </a:lnTo>
                  <a:lnTo>
                    <a:pt x="1223" y="1983"/>
                  </a:lnTo>
                  <a:close/>
                  <a:moveTo>
                    <a:pt x="1036" y="1738"/>
                  </a:moveTo>
                  <a:cubicBezTo>
                    <a:pt x="1034" y="1696"/>
                    <a:pt x="985" y="1662"/>
                    <a:pt x="925" y="1662"/>
                  </a:cubicBezTo>
                  <a:cubicBezTo>
                    <a:pt x="865" y="1662"/>
                    <a:pt x="816" y="1696"/>
                    <a:pt x="814" y="1738"/>
                  </a:cubicBezTo>
                  <a:lnTo>
                    <a:pt x="815" y="1993"/>
                  </a:lnTo>
                  <a:lnTo>
                    <a:pt x="1036" y="1994"/>
                  </a:lnTo>
                  <a:lnTo>
                    <a:pt x="1036" y="1738"/>
                  </a:lnTo>
                  <a:close/>
                  <a:moveTo>
                    <a:pt x="1027" y="1741"/>
                  </a:moveTo>
                  <a:lnTo>
                    <a:pt x="936" y="1741"/>
                  </a:lnTo>
                  <a:lnTo>
                    <a:pt x="990" y="1691"/>
                  </a:lnTo>
                  <a:cubicBezTo>
                    <a:pt x="1011" y="1703"/>
                    <a:pt x="1025" y="1721"/>
                    <a:pt x="1027" y="1741"/>
                  </a:cubicBezTo>
                  <a:close/>
                  <a:moveTo>
                    <a:pt x="929" y="1741"/>
                  </a:moveTo>
                  <a:lnTo>
                    <a:pt x="929" y="1675"/>
                  </a:lnTo>
                  <a:cubicBezTo>
                    <a:pt x="950" y="1675"/>
                    <a:pt x="970" y="1680"/>
                    <a:pt x="986" y="1688"/>
                  </a:cubicBezTo>
                  <a:lnTo>
                    <a:pt x="930" y="1741"/>
                  </a:lnTo>
                  <a:lnTo>
                    <a:pt x="930" y="1741"/>
                  </a:lnTo>
                  <a:lnTo>
                    <a:pt x="929" y="1741"/>
                  </a:lnTo>
                  <a:close/>
                  <a:moveTo>
                    <a:pt x="925" y="1741"/>
                  </a:moveTo>
                  <a:lnTo>
                    <a:pt x="924" y="1741"/>
                  </a:lnTo>
                  <a:lnTo>
                    <a:pt x="924" y="1741"/>
                  </a:lnTo>
                  <a:lnTo>
                    <a:pt x="867" y="1688"/>
                  </a:lnTo>
                  <a:cubicBezTo>
                    <a:pt x="883" y="1679"/>
                    <a:pt x="903" y="1675"/>
                    <a:pt x="925" y="1674"/>
                  </a:cubicBezTo>
                  <a:lnTo>
                    <a:pt x="925" y="1741"/>
                  </a:lnTo>
                  <a:close/>
                  <a:moveTo>
                    <a:pt x="922" y="1749"/>
                  </a:moveTo>
                  <a:lnTo>
                    <a:pt x="922" y="1855"/>
                  </a:lnTo>
                  <a:lnTo>
                    <a:pt x="823" y="1855"/>
                  </a:lnTo>
                  <a:lnTo>
                    <a:pt x="823" y="1749"/>
                  </a:lnTo>
                  <a:lnTo>
                    <a:pt x="922" y="1749"/>
                  </a:lnTo>
                  <a:close/>
                  <a:moveTo>
                    <a:pt x="932" y="1749"/>
                  </a:moveTo>
                  <a:lnTo>
                    <a:pt x="1028" y="1749"/>
                  </a:lnTo>
                  <a:lnTo>
                    <a:pt x="1028" y="1855"/>
                  </a:lnTo>
                  <a:lnTo>
                    <a:pt x="932" y="1855"/>
                  </a:lnTo>
                  <a:lnTo>
                    <a:pt x="932" y="1749"/>
                  </a:lnTo>
                  <a:close/>
                  <a:moveTo>
                    <a:pt x="862" y="1690"/>
                  </a:moveTo>
                  <a:lnTo>
                    <a:pt x="917" y="1741"/>
                  </a:lnTo>
                  <a:lnTo>
                    <a:pt x="823" y="1741"/>
                  </a:lnTo>
                  <a:cubicBezTo>
                    <a:pt x="826" y="1720"/>
                    <a:pt x="840" y="1702"/>
                    <a:pt x="862" y="1690"/>
                  </a:cubicBezTo>
                  <a:close/>
                  <a:moveTo>
                    <a:pt x="823" y="1861"/>
                  </a:moveTo>
                  <a:lnTo>
                    <a:pt x="922" y="1861"/>
                  </a:lnTo>
                  <a:lnTo>
                    <a:pt x="922" y="1981"/>
                  </a:lnTo>
                  <a:lnTo>
                    <a:pt x="824" y="1981"/>
                  </a:lnTo>
                  <a:lnTo>
                    <a:pt x="823" y="1861"/>
                  </a:lnTo>
                  <a:close/>
                  <a:moveTo>
                    <a:pt x="932" y="1981"/>
                  </a:moveTo>
                  <a:lnTo>
                    <a:pt x="932" y="1861"/>
                  </a:lnTo>
                  <a:lnTo>
                    <a:pt x="1028" y="1861"/>
                  </a:lnTo>
                  <a:lnTo>
                    <a:pt x="1028" y="1981"/>
                  </a:lnTo>
                  <a:lnTo>
                    <a:pt x="932" y="1981"/>
                  </a:lnTo>
                  <a:close/>
                  <a:moveTo>
                    <a:pt x="743" y="1740"/>
                  </a:moveTo>
                  <a:cubicBezTo>
                    <a:pt x="741" y="1698"/>
                    <a:pt x="692" y="1664"/>
                    <a:pt x="632" y="1664"/>
                  </a:cubicBezTo>
                  <a:cubicBezTo>
                    <a:pt x="572" y="1664"/>
                    <a:pt x="523" y="1698"/>
                    <a:pt x="521" y="1740"/>
                  </a:cubicBezTo>
                  <a:lnTo>
                    <a:pt x="522" y="1996"/>
                  </a:lnTo>
                  <a:lnTo>
                    <a:pt x="743" y="1996"/>
                  </a:lnTo>
                  <a:lnTo>
                    <a:pt x="743" y="1740"/>
                  </a:lnTo>
                  <a:close/>
                  <a:moveTo>
                    <a:pt x="734" y="1743"/>
                  </a:moveTo>
                  <a:lnTo>
                    <a:pt x="643" y="1743"/>
                  </a:lnTo>
                  <a:lnTo>
                    <a:pt x="697" y="1693"/>
                  </a:lnTo>
                  <a:cubicBezTo>
                    <a:pt x="718" y="1705"/>
                    <a:pt x="732" y="1723"/>
                    <a:pt x="734" y="1743"/>
                  </a:cubicBezTo>
                  <a:close/>
                  <a:moveTo>
                    <a:pt x="636" y="1743"/>
                  </a:moveTo>
                  <a:lnTo>
                    <a:pt x="636" y="1677"/>
                  </a:lnTo>
                  <a:cubicBezTo>
                    <a:pt x="657" y="1678"/>
                    <a:pt x="677" y="1683"/>
                    <a:pt x="692" y="1691"/>
                  </a:cubicBezTo>
                  <a:lnTo>
                    <a:pt x="637" y="1743"/>
                  </a:lnTo>
                  <a:lnTo>
                    <a:pt x="637" y="1743"/>
                  </a:lnTo>
                  <a:lnTo>
                    <a:pt x="636" y="1743"/>
                  </a:lnTo>
                  <a:close/>
                  <a:moveTo>
                    <a:pt x="631" y="1743"/>
                  </a:moveTo>
                  <a:lnTo>
                    <a:pt x="630" y="1743"/>
                  </a:lnTo>
                  <a:lnTo>
                    <a:pt x="630" y="1743"/>
                  </a:lnTo>
                  <a:lnTo>
                    <a:pt x="574" y="1690"/>
                  </a:lnTo>
                  <a:cubicBezTo>
                    <a:pt x="590" y="1682"/>
                    <a:pt x="610" y="1677"/>
                    <a:pt x="631" y="1677"/>
                  </a:cubicBezTo>
                  <a:lnTo>
                    <a:pt x="631" y="1743"/>
                  </a:lnTo>
                  <a:close/>
                  <a:moveTo>
                    <a:pt x="629" y="1752"/>
                  </a:moveTo>
                  <a:lnTo>
                    <a:pt x="629" y="1857"/>
                  </a:lnTo>
                  <a:lnTo>
                    <a:pt x="530" y="1857"/>
                  </a:lnTo>
                  <a:lnTo>
                    <a:pt x="530" y="1752"/>
                  </a:lnTo>
                  <a:lnTo>
                    <a:pt x="629" y="1752"/>
                  </a:lnTo>
                  <a:close/>
                  <a:moveTo>
                    <a:pt x="639" y="1752"/>
                  </a:moveTo>
                  <a:lnTo>
                    <a:pt x="735" y="1752"/>
                  </a:lnTo>
                  <a:lnTo>
                    <a:pt x="735" y="1857"/>
                  </a:lnTo>
                  <a:lnTo>
                    <a:pt x="639" y="1857"/>
                  </a:lnTo>
                  <a:lnTo>
                    <a:pt x="639" y="1752"/>
                  </a:lnTo>
                  <a:close/>
                  <a:moveTo>
                    <a:pt x="569" y="1692"/>
                  </a:moveTo>
                  <a:lnTo>
                    <a:pt x="624" y="1743"/>
                  </a:lnTo>
                  <a:lnTo>
                    <a:pt x="530" y="1743"/>
                  </a:lnTo>
                  <a:cubicBezTo>
                    <a:pt x="533" y="1723"/>
                    <a:pt x="547" y="1704"/>
                    <a:pt x="569" y="1692"/>
                  </a:cubicBezTo>
                  <a:close/>
                  <a:moveTo>
                    <a:pt x="530" y="1864"/>
                  </a:moveTo>
                  <a:lnTo>
                    <a:pt x="629" y="1864"/>
                  </a:lnTo>
                  <a:lnTo>
                    <a:pt x="629" y="1983"/>
                  </a:lnTo>
                  <a:lnTo>
                    <a:pt x="530" y="1983"/>
                  </a:lnTo>
                  <a:lnTo>
                    <a:pt x="530" y="1864"/>
                  </a:lnTo>
                  <a:close/>
                  <a:moveTo>
                    <a:pt x="639" y="1983"/>
                  </a:moveTo>
                  <a:lnTo>
                    <a:pt x="639" y="1864"/>
                  </a:lnTo>
                  <a:lnTo>
                    <a:pt x="735" y="1864"/>
                  </a:lnTo>
                  <a:lnTo>
                    <a:pt x="735" y="1983"/>
                  </a:lnTo>
                  <a:lnTo>
                    <a:pt x="639" y="1983"/>
                  </a:lnTo>
                  <a:close/>
                  <a:moveTo>
                    <a:pt x="450" y="1740"/>
                  </a:moveTo>
                  <a:cubicBezTo>
                    <a:pt x="448" y="1698"/>
                    <a:pt x="399" y="1664"/>
                    <a:pt x="339" y="1664"/>
                  </a:cubicBezTo>
                  <a:cubicBezTo>
                    <a:pt x="279" y="1664"/>
                    <a:pt x="230" y="1698"/>
                    <a:pt x="228" y="1740"/>
                  </a:cubicBezTo>
                  <a:lnTo>
                    <a:pt x="229" y="1996"/>
                  </a:lnTo>
                  <a:lnTo>
                    <a:pt x="450" y="1996"/>
                  </a:lnTo>
                  <a:lnTo>
                    <a:pt x="450" y="1740"/>
                  </a:lnTo>
                  <a:close/>
                  <a:moveTo>
                    <a:pt x="441" y="1743"/>
                  </a:moveTo>
                  <a:lnTo>
                    <a:pt x="350" y="1743"/>
                  </a:lnTo>
                  <a:lnTo>
                    <a:pt x="404" y="1693"/>
                  </a:lnTo>
                  <a:cubicBezTo>
                    <a:pt x="425" y="1705"/>
                    <a:pt x="439" y="1723"/>
                    <a:pt x="441" y="1743"/>
                  </a:cubicBezTo>
                  <a:close/>
                  <a:moveTo>
                    <a:pt x="343" y="1743"/>
                  </a:moveTo>
                  <a:lnTo>
                    <a:pt x="343" y="1677"/>
                  </a:lnTo>
                  <a:cubicBezTo>
                    <a:pt x="364" y="1678"/>
                    <a:pt x="383" y="1683"/>
                    <a:pt x="399" y="1691"/>
                  </a:cubicBezTo>
                  <a:lnTo>
                    <a:pt x="343" y="1743"/>
                  </a:lnTo>
                  <a:lnTo>
                    <a:pt x="344" y="1743"/>
                  </a:lnTo>
                  <a:lnTo>
                    <a:pt x="343" y="1743"/>
                  </a:lnTo>
                  <a:close/>
                  <a:moveTo>
                    <a:pt x="338" y="1743"/>
                  </a:moveTo>
                  <a:lnTo>
                    <a:pt x="337" y="1743"/>
                  </a:lnTo>
                  <a:lnTo>
                    <a:pt x="337" y="1743"/>
                  </a:lnTo>
                  <a:lnTo>
                    <a:pt x="280" y="1690"/>
                  </a:lnTo>
                  <a:cubicBezTo>
                    <a:pt x="297" y="1682"/>
                    <a:pt x="317" y="1677"/>
                    <a:pt x="338" y="1677"/>
                  </a:cubicBezTo>
                  <a:lnTo>
                    <a:pt x="338" y="1743"/>
                  </a:lnTo>
                  <a:close/>
                  <a:moveTo>
                    <a:pt x="336" y="1752"/>
                  </a:moveTo>
                  <a:lnTo>
                    <a:pt x="336" y="1857"/>
                  </a:lnTo>
                  <a:lnTo>
                    <a:pt x="237" y="1857"/>
                  </a:lnTo>
                  <a:lnTo>
                    <a:pt x="237" y="1752"/>
                  </a:lnTo>
                  <a:lnTo>
                    <a:pt x="336" y="1752"/>
                  </a:lnTo>
                  <a:close/>
                  <a:moveTo>
                    <a:pt x="346" y="1752"/>
                  </a:moveTo>
                  <a:lnTo>
                    <a:pt x="441" y="1752"/>
                  </a:lnTo>
                  <a:lnTo>
                    <a:pt x="441" y="1857"/>
                  </a:lnTo>
                  <a:lnTo>
                    <a:pt x="346" y="1857"/>
                  </a:lnTo>
                  <a:lnTo>
                    <a:pt x="346" y="1752"/>
                  </a:lnTo>
                  <a:close/>
                  <a:moveTo>
                    <a:pt x="276" y="1692"/>
                  </a:moveTo>
                  <a:lnTo>
                    <a:pt x="331" y="1743"/>
                  </a:lnTo>
                  <a:lnTo>
                    <a:pt x="237" y="1743"/>
                  </a:lnTo>
                  <a:cubicBezTo>
                    <a:pt x="239" y="1723"/>
                    <a:pt x="254" y="1704"/>
                    <a:pt x="276" y="1692"/>
                  </a:cubicBezTo>
                  <a:close/>
                  <a:moveTo>
                    <a:pt x="237" y="1864"/>
                  </a:moveTo>
                  <a:lnTo>
                    <a:pt x="336" y="1864"/>
                  </a:lnTo>
                  <a:lnTo>
                    <a:pt x="336" y="1983"/>
                  </a:lnTo>
                  <a:lnTo>
                    <a:pt x="237" y="1983"/>
                  </a:lnTo>
                  <a:lnTo>
                    <a:pt x="237" y="1864"/>
                  </a:lnTo>
                  <a:close/>
                  <a:moveTo>
                    <a:pt x="346" y="1983"/>
                  </a:moveTo>
                  <a:lnTo>
                    <a:pt x="346" y="1864"/>
                  </a:lnTo>
                  <a:lnTo>
                    <a:pt x="441" y="1864"/>
                  </a:lnTo>
                  <a:lnTo>
                    <a:pt x="441" y="1983"/>
                  </a:lnTo>
                  <a:lnTo>
                    <a:pt x="346" y="1983"/>
                  </a:lnTo>
                  <a:close/>
                  <a:moveTo>
                    <a:pt x="451" y="1300"/>
                  </a:moveTo>
                  <a:cubicBezTo>
                    <a:pt x="449" y="1258"/>
                    <a:pt x="400" y="1224"/>
                    <a:pt x="340" y="1224"/>
                  </a:cubicBezTo>
                  <a:cubicBezTo>
                    <a:pt x="280" y="1224"/>
                    <a:pt x="231" y="1258"/>
                    <a:pt x="229" y="1300"/>
                  </a:cubicBezTo>
                  <a:lnTo>
                    <a:pt x="230" y="1556"/>
                  </a:lnTo>
                  <a:lnTo>
                    <a:pt x="451" y="1556"/>
                  </a:lnTo>
                  <a:lnTo>
                    <a:pt x="451" y="1300"/>
                  </a:lnTo>
                  <a:close/>
                  <a:moveTo>
                    <a:pt x="442" y="1303"/>
                  </a:moveTo>
                  <a:lnTo>
                    <a:pt x="351" y="1303"/>
                  </a:lnTo>
                  <a:lnTo>
                    <a:pt x="405" y="1253"/>
                  </a:lnTo>
                  <a:cubicBezTo>
                    <a:pt x="426" y="1265"/>
                    <a:pt x="440" y="1283"/>
                    <a:pt x="442" y="1303"/>
                  </a:cubicBezTo>
                  <a:close/>
                  <a:moveTo>
                    <a:pt x="344" y="1303"/>
                  </a:moveTo>
                  <a:lnTo>
                    <a:pt x="344" y="1237"/>
                  </a:lnTo>
                  <a:cubicBezTo>
                    <a:pt x="365" y="1237"/>
                    <a:pt x="385" y="1242"/>
                    <a:pt x="401" y="1251"/>
                  </a:cubicBezTo>
                  <a:lnTo>
                    <a:pt x="345" y="1303"/>
                  </a:lnTo>
                  <a:lnTo>
                    <a:pt x="345" y="1303"/>
                  </a:lnTo>
                  <a:lnTo>
                    <a:pt x="344" y="1303"/>
                  </a:lnTo>
                  <a:close/>
                  <a:moveTo>
                    <a:pt x="339" y="1303"/>
                  </a:moveTo>
                  <a:lnTo>
                    <a:pt x="338" y="1303"/>
                  </a:lnTo>
                  <a:lnTo>
                    <a:pt x="339" y="1303"/>
                  </a:lnTo>
                  <a:lnTo>
                    <a:pt x="282" y="1250"/>
                  </a:lnTo>
                  <a:cubicBezTo>
                    <a:pt x="298" y="1241"/>
                    <a:pt x="318" y="1237"/>
                    <a:pt x="339" y="1237"/>
                  </a:cubicBezTo>
                  <a:lnTo>
                    <a:pt x="339" y="1303"/>
                  </a:lnTo>
                  <a:close/>
                  <a:moveTo>
                    <a:pt x="337" y="1311"/>
                  </a:moveTo>
                  <a:lnTo>
                    <a:pt x="337" y="1417"/>
                  </a:lnTo>
                  <a:lnTo>
                    <a:pt x="238" y="1417"/>
                  </a:lnTo>
                  <a:lnTo>
                    <a:pt x="238" y="1311"/>
                  </a:lnTo>
                  <a:lnTo>
                    <a:pt x="337" y="1311"/>
                  </a:lnTo>
                  <a:close/>
                  <a:moveTo>
                    <a:pt x="347" y="1311"/>
                  </a:moveTo>
                  <a:lnTo>
                    <a:pt x="443" y="1311"/>
                  </a:lnTo>
                  <a:lnTo>
                    <a:pt x="443" y="1417"/>
                  </a:lnTo>
                  <a:lnTo>
                    <a:pt x="347" y="1417"/>
                  </a:lnTo>
                  <a:lnTo>
                    <a:pt x="347" y="1311"/>
                  </a:lnTo>
                  <a:close/>
                  <a:moveTo>
                    <a:pt x="277" y="1252"/>
                  </a:moveTo>
                  <a:lnTo>
                    <a:pt x="332" y="1303"/>
                  </a:lnTo>
                  <a:lnTo>
                    <a:pt x="238" y="1303"/>
                  </a:lnTo>
                  <a:cubicBezTo>
                    <a:pt x="241" y="1282"/>
                    <a:pt x="255" y="1264"/>
                    <a:pt x="277" y="1252"/>
                  </a:cubicBezTo>
                  <a:close/>
                  <a:moveTo>
                    <a:pt x="238" y="1423"/>
                  </a:moveTo>
                  <a:lnTo>
                    <a:pt x="337" y="1423"/>
                  </a:lnTo>
                  <a:lnTo>
                    <a:pt x="337" y="1543"/>
                  </a:lnTo>
                  <a:lnTo>
                    <a:pt x="238" y="1543"/>
                  </a:lnTo>
                  <a:lnTo>
                    <a:pt x="238" y="1423"/>
                  </a:lnTo>
                  <a:close/>
                  <a:moveTo>
                    <a:pt x="347" y="1543"/>
                  </a:moveTo>
                  <a:lnTo>
                    <a:pt x="347" y="1423"/>
                  </a:lnTo>
                  <a:lnTo>
                    <a:pt x="443" y="1423"/>
                  </a:lnTo>
                  <a:lnTo>
                    <a:pt x="443" y="1543"/>
                  </a:lnTo>
                  <a:lnTo>
                    <a:pt x="347" y="1543"/>
                  </a:lnTo>
                  <a:close/>
                  <a:moveTo>
                    <a:pt x="744" y="1302"/>
                  </a:moveTo>
                  <a:cubicBezTo>
                    <a:pt x="742" y="1260"/>
                    <a:pt x="693" y="1226"/>
                    <a:pt x="633" y="1226"/>
                  </a:cubicBezTo>
                  <a:cubicBezTo>
                    <a:pt x="573" y="1226"/>
                    <a:pt x="524" y="1260"/>
                    <a:pt x="522" y="1302"/>
                  </a:cubicBezTo>
                  <a:lnTo>
                    <a:pt x="523" y="1558"/>
                  </a:lnTo>
                  <a:lnTo>
                    <a:pt x="744" y="1558"/>
                  </a:lnTo>
                  <a:lnTo>
                    <a:pt x="744" y="1302"/>
                  </a:lnTo>
                  <a:close/>
                  <a:moveTo>
                    <a:pt x="735" y="1305"/>
                  </a:moveTo>
                  <a:lnTo>
                    <a:pt x="645" y="1305"/>
                  </a:lnTo>
                  <a:lnTo>
                    <a:pt x="698" y="1255"/>
                  </a:lnTo>
                  <a:cubicBezTo>
                    <a:pt x="719" y="1267"/>
                    <a:pt x="733" y="1285"/>
                    <a:pt x="735" y="1305"/>
                  </a:cubicBezTo>
                  <a:close/>
                  <a:moveTo>
                    <a:pt x="637" y="1305"/>
                  </a:moveTo>
                  <a:lnTo>
                    <a:pt x="637" y="1239"/>
                  </a:lnTo>
                  <a:cubicBezTo>
                    <a:pt x="658" y="1240"/>
                    <a:pt x="678" y="1245"/>
                    <a:pt x="694" y="1253"/>
                  </a:cubicBezTo>
                  <a:lnTo>
                    <a:pt x="638" y="1305"/>
                  </a:lnTo>
                  <a:lnTo>
                    <a:pt x="638" y="1305"/>
                  </a:lnTo>
                  <a:lnTo>
                    <a:pt x="637" y="1305"/>
                  </a:lnTo>
                  <a:close/>
                  <a:moveTo>
                    <a:pt x="633" y="1305"/>
                  </a:moveTo>
                  <a:lnTo>
                    <a:pt x="632" y="1305"/>
                  </a:lnTo>
                  <a:lnTo>
                    <a:pt x="632" y="1305"/>
                  </a:lnTo>
                  <a:lnTo>
                    <a:pt x="575" y="1252"/>
                  </a:lnTo>
                  <a:cubicBezTo>
                    <a:pt x="591" y="1244"/>
                    <a:pt x="611" y="1239"/>
                    <a:pt x="633" y="1239"/>
                  </a:cubicBezTo>
                  <a:lnTo>
                    <a:pt x="633" y="1305"/>
                  </a:lnTo>
                  <a:close/>
                  <a:moveTo>
                    <a:pt x="630" y="1314"/>
                  </a:moveTo>
                  <a:lnTo>
                    <a:pt x="630" y="1419"/>
                  </a:lnTo>
                  <a:lnTo>
                    <a:pt x="531" y="1419"/>
                  </a:lnTo>
                  <a:lnTo>
                    <a:pt x="531" y="1314"/>
                  </a:lnTo>
                  <a:lnTo>
                    <a:pt x="630" y="1314"/>
                  </a:lnTo>
                  <a:close/>
                  <a:moveTo>
                    <a:pt x="640" y="1314"/>
                  </a:moveTo>
                  <a:lnTo>
                    <a:pt x="736" y="1314"/>
                  </a:lnTo>
                  <a:lnTo>
                    <a:pt x="736" y="1419"/>
                  </a:lnTo>
                  <a:lnTo>
                    <a:pt x="640" y="1419"/>
                  </a:lnTo>
                  <a:lnTo>
                    <a:pt x="640" y="1314"/>
                  </a:lnTo>
                  <a:close/>
                  <a:moveTo>
                    <a:pt x="570" y="1254"/>
                  </a:moveTo>
                  <a:lnTo>
                    <a:pt x="625" y="1305"/>
                  </a:lnTo>
                  <a:lnTo>
                    <a:pt x="531" y="1305"/>
                  </a:lnTo>
                  <a:cubicBezTo>
                    <a:pt x="534" y="1285"/>
                    <a:pt x="549" y="1266"/>
                    <a:pt x="570" y="1254"/>
                  </a:cubicBezTo>
                  <a:close/>
                  <a:moveTo>
                    <a:pt x="531" y="1426"/>
                  </a:moveTo>
                  <a:lnTo>
                    <a:pt x="630" y="1426"/>
                  </a:lnTo>
                  <a:lnTo>
                    <a:pt x="630" y="1545"/>
                  </a:lnTo>
                  <a:lnTo>
                    <a:pt x="532" y="1545"/>
                  </a:lnTo>
                  <a:lnTo>
                    <a:pt x="531" y="1426"/>
                  </a:lnTo>
                  <a:close/>
                  <a:moveTo>
                    <a:pt x="640" y="1545"/>
                  </a:moveTo>
                  <a:lnTo>
                    <a:pt x="640" y="1426"/>
                  </a:lnTo>
                  <a:lnTo>
                    <a:pt x="736" y="1426"/>
                  </a:lnTo>
                  <a:lnTo>
                    <a:pt x="736" y="1546"/>
                  </a:lnTo>
                  <a:lnTo>
                    <a:pt x="640" y="1545"/>
                  </a:lnTo>
                  <a:close/>
                  <a:moveTo>
                    <a:pt x="1036" y="1300"/>
                  </a:moveTo>
                  <a:cubicBezTo>
                    <a:pt x="1034" y="1258"/>
                    <a:pt x="985" y="1224"/>
                    <a:pt x="925" y="1224"/>
                  </a:cubicBezTo>
                  <a:cubicBezTo>
                    <a:pt x="865" y="1224"/>
                    <a:pt x="816" y="1258"/>
                    <a:pt x="814" y="1300"/>
                  </a:cubicBezTo>
                  <a:lnTo>
                    <a:pt x="815" y="1556"/>
                  </a:lnTo>
                  <a:lnTo>
                    <a:pt x="1036" y="1556"/>
                  </a:lnTo>
                  <a:lnTo>
                    <a:pt x="1036" y="1300"/>
                  </a:lnTo>
                  <a:close/>
                  <a:moveTo>
                    <a:pt x="1027" y="1303"/>
                  </a:moveTo>
                  <a:lnTo>
                    <a:pt x="936" y="1303"/>
                  </a:lnTo>
                  <a:lnTo>
                    <a:pt x="990" y="1253"/>
                  </a:lnTo>
                  <a:cubicBezTo>
                    <a:pt x="1011" y="1265"/>
                    <a:pt x="1025" y="1283"/>
                    <a:pt x="1027" y="1303"/>
                  </a:cubicBezTo>
                  <a:close/>
                  <a:moveTo>
                    <a:pt x="929" y="1303"/>
                  </a:moveTo>
                  <a:lnTo>
                    <a:pt x="929" y="1237"/>
                  </a:lnTo>
                  <a:cubicBezTo>
                    <a:pt x="950" y="1237"/>
                    <a:pt x="970" y="1242"/>
                    <a:pt x="986" y="1251"/>
                  </a:cubicBezTo>
                  <a:lnTo>
                    <a:pt x="930" y="1303"/>
                  </a:lnTo>
                  <a:lnTo>
                    <a:pt x="930" y="1303"/>
                  </a:lnTo>
                  <a:lnTo>
                    <a:pt x="929" y="1303"/>
                  </a:lnTo>
                  <a:close/>
                  <a:moveTo>
                    <a:pt x="925" y="1303"/>
                  </a:moveTo>
                  <a:lnTo>
                    <a:pt x="924" y="1303"/>
                  </a:lnTo>
                  <a:lnTo>
                    <a:pt x="924" y="1303"/>
                  </a:lnTo>
                  <a:lnTo>
                    <a:pt x="867" y="1250"/>
                  </a:lnTo>
                  <a:cubicBezTo>
                    <a:pt x="883" y="1241"/>
                    <a:pt x="903" y="1237"/>
                    <a:pt x="925" y="1237"/>
                  </a:cubicBezTo>
                  <a:lnTo>
                    <a:pt x="925" y="1303"/>
                  </a:lnTo>
                  <a:close/>
                  <a:moveTo>
                    <a:pt x="922" y="1311"/>
                  </a:moveTo>
                  <a:lnTo>
                    <a:pt x="922" y="1417"/>
                  </a:lnTo>
                  <a:lnTo>
                    <a:pt x="823" y="1417"/>
                  </a:lnTo>
                  <a:lnTo>
                    <a:pt x="823" y="1311"/>
                  </a:lnTo>
                  <a:lnTo>
                    <a:pt x="922" y="1311"/>
                  </a:lnTo>
                  <a:close/>
                  <a:moveTo>
                    <a:pt x="932" y="1311"/>
                  </a:moveTo>
                  <a:lnTo>
                    <a:pt x="1028" y="1311"/>
                  </a:lnTo>
                  <a:lnTo>
                    <a:pt x="1028" y="1417"/>
                  </a:lnTo>
                  <a:lnTo>
                    <a:pt x="932" y="1417"/>
                  </a:lnTo>
                  <a:lnTo>
                    <a:pt x="932" y="1311"/>
                  </a:lnTo>
                  <a:close/>
                  <a:moveTo>
                    <a:pt x="862" y="1252"/>
                  </a:moveTo>
                  <a:lnTo>
                    <a:pt x="917" y="1303"/>
                  </a:lnTo>
                  <a:lnTo>
                    <a:pt x="823" y="1303"/>
                  </a:lnTo>
                  <a:cubicBezTo>
                    <a:pt x="826" y="1282"/>
                    <a:pt x="840" y="1264"/>
                    <a:pt x="862" y="1252"/>
                  </a:cubicBezTo>
                  <a:close/>
                  <a:moveTo>
                    <a:pt x="823" y="1423"/>
                  </a:moveTo>
                  <a:lnTo>
                    <a:pt x="922" y="1423"/>
                  </a:lnTo>
                  <a:lnTo>
                    <a:pt x="922" y="1543"/>
                  </a:lnTo>
                  <a:lnTo>
                    <a:pt x="824" y="1543"/>
                  </a:lnTo>
                  <a:lnTo>
                    <a:pt x="823" y="1423"/>
                  </a:lnTo>
                  <a:close/>
                  <a:moveTo>
                    <a:pt x="932" y="1543"/>
                  </a:moveTo>
                  <a:lnTo>
                    <a:pt x="932" y="1423"/>
                  </a:lnTo>
                  <a:lnTo>
                    <a:pt x="1028" y="1423"/>
                  </a:lnTo>
                  <a:lnTo>
                    <a:pt x="1028" y="1543"/>
                  </a:lnTo>
                  <a:lnTo>
                    <a:pt x="932" y="1543"/>
                  </a:lnTo>
                  <a:close/>
                  <a:moveTo>
                    <a:pt x="1327" y="1300"/>
                  </a:moveTo>
                  <a:cubicBezTo>
                    <a:pt x="1325" y="1258"/>
                    <a:pt x="1276" y="1224"/>
                    <a:pt x="1216" y="1224"/>
                  </a:cubicBezTo>
                  <a:cubicBezTo>
                    <a:pt x="1156" y="1224"/>
                    <a:pt x="1107" y="1258"/>
                    <a:pt x="1105" y="1300"/>
                  </a:cubicBezTo>
                  <a:lnTo>
                    <a:pt x="1106" y="1556"/>
                  </a:lnTo>
                  <a:lnTo>
                    <a:pt x="1327" y="1556"/>
                  </a:lnTo>
                  <a:lnTo>
                    <a:pt x="1327" y="1300"/>
                  </a:lnTo>
                  <a:close/>
                  <a:moveTo>
                    <a:pt x="1318" y="1303"/>
                  </a:moveTo>
                  <a:lnTo>
                    <a:pt x="1227" y="1303"/>
                  </a:lnTo>
                  <a:lnTo>
                    <a:pt x="1281" y="1253"/>
                  </a:lnTo>
                  <a:cubicBezTo>
                    <a:pt x="1302" y="1265"/>
                    <a:pt x="1316" y="1283"/>
                    <a:pt x="1318" y="1303"/>
                  </a:cubicBezTo>
                  <a:close/>
                  <a:moveTo>
                    <a:pt x="1220" y="1303"/>
                  </a:moveTo>
                  <a:lnTo>
                    <a:pt x="1220" y="1237"/>
                  </a:lnTo>
                  <a:cubicBezTo>
                    <a:pt x="1241" y="1237"/>
                    <a:pt x="1260" y="1242"/>
                    <a:pt x="1276" y="1251"/>
                  </a:cubicBezTo>
                  <a:lnTo>
                    <a:pt x="1221" y="1303"/>
                  </a:lnTo>
                  <a:lnTo>
                    <a:pt x="1221" y="1303"/>
                  </a:lnTo>
                  <a:lnTo>
                    <a:pt x="1220" y="1303"/>
                  </a:lnTo>
                  <a:close/>
                  <a:moveTo>
                    <a:pt x="1215" y="1303"/>
                  </a:moveTo>
                  <a:lnTo>
                    <a:pt x="1214" y="1303"/>
                  </a:lnTo>
                  <a:lnTo>
                    <a:pt x="1214" y="1303"/>
                  </a:lnTo>
                  <a:lnTo>
                    <a:pt x="1158" y="1250"/>
                  </a:lnTo>
                  <a:cubicBezTo>
                    <a:pt x="1174" y="1241"/>
                    <a:pt x="1194" y="1237"/>
                    <a:pt x="1215" y="1237"/>
                  </a:cubicBezTo>
                  <a:lnTo>
                    <a:pt x="1215" y="1303"/>
                  </a:lnTo>
                  <a:close/>
                  <a:moveTo>
                    <a:pt x="1213" y="1311"/>
                  </a:moveTo>
                  <a:lnTo>
                    <a:pt x="1213" y="1417"/>
                  </a:lnTo>
                  <a:lnTo>
                    <a:pt x="1114" y="1417"/>
                  </a:lnTo>
                  <a:lnTo>
                    <a:pt x="1114" y="1311"/>
                  </a:lnTo>
                  <a:lnTo>
                    <a:pt x="1213" y="1311"/>
                  </a:lnTo>
                  <a:close/>
                  <a:moveTo>
                    <a:pt x="1223" y="1311"/>
                  </a:moveTo>
                  <a:lnTo>
                    <a:pt x="1318" y="1311"/>
                  </a:lnTo>
                  <a:lnTo>
                    <a:pt x="1318" y="1417"/>
                  </a:lnTo>
                  <a:lnTo>
                    <a:pt x="1223" y="1417"/>
                  </a:lnTo>
                  <a:lnTo>
                    <a:pt x="1223" y="1311"/>
                  </a:lnTo>
                  <a:close/>
                  <a:moveTo>
                    <a:pt x="1153" y="1252"/>
                  </a:moveTo>
                  <a:lnTo>
                    <a:pt x="1208" y="1303"/>
                  </a:lnTo>
                  <a:lnTo>
                    <a:pt x="1114" y="1303"/>
                  </a:lnTo>
                  <a:cubicBezTo>
                    <a:pt x="1116" y="1282"/>
                    <a:pt x="1131" y="1264"/>
                    <a:pt x="1153" y="1252"/>
                  </a:cubicBezTo>
                  <a:close/>
                  <a:moveTo>
                    <a:pt x="1114" y="1423"/>
                  </a:moveTo>
                  <a:lnTo>
                    <a:pt x="1213" y="1423"/>
                  </a:lnTo>
                  <a:lnTo>
                    <a:pt x="1213" y="1543"/>
                  </a:lnTo>
                  <a:lnTo>
                    <a:pt x="1114" y="1543"/>
                  </a:lnTo>
                  <a:lnTo>
                    <a:pt x="1114" y="1423"/>
                  </a:lnTo>
                  <a:close/>
                  <a:moveTo>
                    <a:pt x="1223" y="1543"/>
                  </a:moveTo>
                  <a:lnTo>
                    <a:pt x="1223" y="1423"/>
                  </a:lnTo>
                  <a:lnTo>
                    <a:pt x="1318" y="1423"/>
                  </a:lnTo>
                  <a:lnTo>
                    <a:pt x="1318" y="1543"/>
                  </a:lnTo>
                  <a:lnTo>
                    <a:pt x="1223" y="1543"/>
                  </a:lnTo>
                  <a:close/>
                  <a:moveTo>
                    <a:pt x="1327" y="859"/>
                  </a:moveTo>
                  <a:cubicBezTo>
                    <a:pt x="1325" y="817"/>
                    <a:pt x="1276" y="783"/>
                    <a:pt x="1216" y="783"/>
                  </a:cubicBezTo>
                  <a:cubicBezTo>
                    <a:pt x="1156" y="783"/>
                    <a:pt x="1107" y="817"/>
                    <a:pt x="1105" y="859"/>
                  </a:cubicBezTo>
                  <a:lnTo>
                    <a:pt x="1106" y="1115"/>
                  </a:lnTo>
                  <a:lnTo>
                    <a:pt x="1327" y="1116"/>
                  </a:lnTo>
                  <a:lnTo>
                    <a:pt x="1327" y="859"/>
                  </a:lnTo>
                  <a:close/>
                  <a:moveTo>
                    <a:pt x="1318" y="863"/>
                  </a:moveTo>
                  <a:lnTo>
                    <a:pt x="1227" y="863"/>
                  </a:lnTo>
                  <a:lnTo>
                    <a:pt x="1281" y="812"/>
                  </a:lnTo>
                  <a:cubicBezTo>
                    <a:pt x="1302" y="825"/>
                    <a:pt x="1316" y="842"/>
                    <a:pt x="1318" y="863"/>
                  </a:cubicBezTo>
                  <a:close/>
                  <a:moveTo>
                    <a:pt x="1220" y="863"/>
                  </a:moveTo>
                  <a:lnTo>
                    <a:pt x="1220" y="796"/>
                  </a:lnTo>
                  <a:cubicBezTo>
                    <a:pt x="1241" y="797"/>
                    <a:pt x="1260" y="802"/>
                    <a:pt x="1276" y="810"/>
                  </a:cubicBezTo>
                  <a:lnTo>
                    <a:pt x="1221" y="862"/>
                  </a:lnTo>
                  <a:lnTo>
                    <a:pt x="1221" y="863"/>
                  </a:lnTo>
                  <a:lnTo>
                    <a:pt x="1220" y="863"/>
                  </a:lnTo>
                  <a:close/>
                  <a:moveTo>
                    <a:pt x="1215" y="863"/>
                  </a:moveTo>
                  <a:lnTo>
                    <a:pt x="1214" y="863"/>
                  </a:lnTo>
                  <a:lnTo>
                    <a:pt x="1214" y="862"/>
                  </a:lnTo>
                  <a:lnTo>
                    <a:pt x="1158" y="809"/>
                  </a:lnTo>
                  <a:cubicBezTo>
                    <a:pt x="1174" y="801"/>
                    <a:pt x="1194" y="796"/>
                    <a:pt x="1215" y="796"/>
                  </a:cubicBezTo>
                  <a:lnTo>
                    <a:pt x="1215" y="863"/>
                  </a:lnTo>
                  <a:close/>
                  <a:moveTo>
                    <a:pt x="1213" y="871"/>
                  </a:moveTo>
                  <a:lnTo>
                    <a:pt x="1213" y="977"/>
                  </a:lnTo>
                  <a:lnTo>
                    <a:pt x="1114" y="977"/>
                  </a:lnTo>
                  <a:lnTo>
                    <a:pt x="1114" y="871"/>
                  </a:lnTo>
                  <a:lnTo>
                    <a:pt x="1213" y="871"/>
                  </a:lnTo>
                  <a:close/>
                  <a:moveTo>
                    <a:pt x="1223" y="871"/>
                  </a:moveTo>
                  <a:lnTo>
                    <a:pt x="1318" y="871"/>
                  </a:lnTo>
                  <a:lnTo>
                    <a:pt x="1318" y="977"/>
                  </a:lnTo>
                  <a:lnTo>
                    <a:pt x="1223" y="977"/>
                  </a:lnTo>
                  <a:lnTo>
                    <a:pt x="1223" y="871"/>
                  </a:lnTo>
                  <a:close/>
                  <a:moveTo>
                    <a:pt x="1153" y="811"/>
                  </a:moveTo>
                  <a:lnTo>
                    <a:pt x="1208" y="863"/>
                  </a:lnTo>
                  <a:lnTo>
                    <a:pt x="1114" y="863"/>
                  </a:lnTo>
                  <a:cubicBezTo>
                    <a:pt x="1116" y="842"/>
                    <a:pt x="1131" y="824"/>
                    <a:pt x="1153" y="811"/>
                  </a:cubicBezTo>
                  <a:close/>
                  <a:moveTo>
                    <a:pt x="1114" y="983"/>
                  </a:moveTo>
                  <a:lnTo>
                    <a:pt x="1213" y="983"/>
                  </a:lnTo>
                  <a:lnTo>
                    <a:pt x="1213" y="1103"/>
                  </a:lnTo>
                  <a:lnTo>
                    <a:pt x="1114" y="1102"/>
                  </a:lnTo>
                  <a:lnTo>
                    <a:pt x="1114" y="983"/>
                  </a:lnTo>
                  <a:close/>
                  <a:moveTo>
                    <a:pt x="1223" y="1103"/>
                  </a:moveTo>
                  <a:lnTo>
                    <a:pt x="1223" y="983"/>
                  </a:lnTo>
                  <a:lnTo>
                    <a:pt x="1318" y="983"/>
                  </a:lnTo>
                  <a:lnTo>
                    <a:pt x="1318" y="1103"/>
                  </a:lnTo>
                  <a:lnTo>
                    <a:pt x="1223" y="1103"/>
                  </a:lnTo>
                  <a:close/>
                  <a:moveTo>
                    <a:pt x="1036" y="861"/>
                  </a:moveTo>
                  <a:cubicBezTo>
                    <a:pt x="1034" y="818"/>
                    <a:pt x="985" y="785"/>
                    <a:pt x="925" y="785"/>
                  </a:cubicBezTo>
                  <a:cubicBezTo>
                    <a:pt x="865" y="785"/>
                    <a:pt x="816" y="818"/>
                    <a:pt x="814" y="861"/>
                  </a:cubicBezTo>
                  <a:lnTo>
                    <a:pt x="815" y="1116"/>
                  </a:lnTo>
                  <a:lnTo>
                    <a:pt x="1036" y="1117"/>
                  </a:lnTo>
                  <a:lnTo>
                    <a:pt x="1036" y="861"/>
                  </a:lnTo>
                  <a:close/>
                  <a:moveTo>
                    <a:pt x="1027" y="864"/>
                  </a:moveTo>
                  <a:lnTo>
                    <a:pt x="936" y="864"/>
                  </a:lnTo>
                  <a:lnTo>
                    <a:pt x="990" y="814"/>
                  </a:lnTo>
                  <a:cubicBezTo>
                    <a:pt x="1011" y="826"/>
                    <a:pt x="1025" y="844"/>
                    <a:pt x="1027" y="864"/>
                  </a:cubicBezTo>
                  <a:close/>
                  <a:moveTo>
                    <a:pt x="929" y="864"/>
                  </a:moveTo>
                  <a:lnTo>
                    <a:pt x="929" y="798"/>
                  </a:lnTo>
                  <a:cubicBezTo>
                    <a:pt x="950" y="798"/>
                    <a:pt x="970" y="803"/>
                    <a:pt x="986" y="811"/>
                  </a:cubicBezTo>
                  <a:lnTo>
                    <a:pt x="930" y="864"/>
                  </a:lnTo>
                  <a:lnTo>
                    <a:pt x="930" y="864"/>
                  </a:lnTo>
                  <a:lnTo>
                    <a:pt x="929" y="864"/>
                  </a:lnTo>
                  <a:close/>
                  <a:moveTo>
                    <a:pt x="925" y="864"/>
                  </a:moveTo>
                  <a:lnTo>
                    <a:pt x="924" y="864"/>
                  </a:lnTo>
                  <a:lnTo>
                    <a:pt x="924" y="864"/>
                  </a:lnTo>
                  <a:lnTo>
                    <a:pt x="867" y="810"/>
                  </a:lnTo>
                  <a:cubicBezTo>
                    <a:pt x="883" y="802"/>
                    <a:pt x="903" y="798"/>
                    <a:pt x="925" y="797"/>
                  </a:cubicBezTo>
                  <a:lnTo>
                    <a:pt x="925" y="864"/>
                  </a:lnTo>
                  <a:close/>
                  <a:moveTo>
                    <a:pt x="922" y="872"/>
                  </a:moveTo>
                  <a:lnTo>
                    <a:pt x="922" y="978"/>
                  </a:lnTo>
                  <a:lnTo>
                    <a:pt x="823" y="978"/>
                  </a:lnTo>
                  <a:lnTo>
                    <a:pt x="823" y="872"/>
                  </a:lnTo>
                  <a:lnTo>
                    <a:pt x="922" y="872"/>
                  </a:lnTo>
                  <a:close/>
                  <a:moveTo>
                    <a:pt x="932" y="872"/>
                  </a:moveTo>
                  <a:lnTo>
                    <a:pt x="1028" y="872"/>
                  </a:lnTo>
                  <a:lnTo>
                    <a:pt x="1028" y="978"/>
                  </a:lnTo>
                  <a:lnTo>
                    <a:pt x="932" y="978"/>
                  </a:lnTo>
                  <a:lnTo>
                    <a:pt x="932" y="872"/>
                  </a:lnTo>
                  <a:close/>
                  <a:moveTo>
                    <a:pt x="862" y="813"/>
                  </a:moveTo>
                  <a:lnTo>
                    <a:pt x="917" y="864"/>
                  </a:lnTo>
                  <a:lnTo>
                    <a:pt x="823" y="864"/>
                  </a:lnTo>
                  <a:cubicBezTo>
                    <a:pt x="826" y="843"/>
                    <a:pt x="840" y="825"/>
                    <a:pt x="862" y="813"/>
                  </a:cubicBezTo>
                  <a:close/>
                  <a:moveTo>
                    <a:pt x="823" y="984"/>
                  </a:moveTo>
                  <a:lnTo>
                    <a:pt x="922" y="984"/>
                  </a:lnTo>
                  <a:lnTo>
                    <a:pt x="922" y="1104"/>
                  </a:lnTo>
                  <a:lnTo>
                    <a:pt x="824" y="1104"/>
                  </a:lnTo>
                  <a:lnTo>
                    <a:pt x="823" y="984"/>
                  </a:lnTo>
                  <a:close/>
                  <a:moveTo>
                    <a:pt x="932" y="1104"/>
                  </a:moveTo>
                  <a:lnTo>
                    <a:pt x="932" y="984"/>
                  </a:lnTo>
                  <a:lnTo>
                    <a:pt x="1028" y="984"/>
                  </a:lnTo>
                  <a:lnTo>
                    <a:pt x="1028" y="1104"/>
                  </a:lnTo>
                  <a:lnTo>
                    <a:pt x="932" y="1104"/>
                  </a:lnTo>
                  <a:close/>
                  <a:moveTo>
                    <a:pt x="744" y="863"/>
                  </a:moveTo>
                  <a:cubicBezTo>
                    <a:pt x="742" y="821"/>
                    <a:pt x="693" y="787"/>
                    <a:pt x="633" y="787"/>
                  </a:cubicBezTo>
                  <a:cubicBezTo>
                    <a:pt x="573" y="787"/>
                    <a:pt x="524" y="821"/>
                    <a:pt x="522" y="863"/>
                  </a:cubicBezTo>
                  <a:lnTo>
                    <a:pt x="523" y="1119"/>
                  </a:lnTo>
                  <a:lnTo>
                    <a:pt x="744" y="1119"/>
                  </a:lnTo>
                  <a:lnTo>
                    <a:pt x="744" y="863"/>
                  </a:lnTo>
                  <a:close/>
                  <a:moveTo>
                    <a:pt x="735" y="866"/>
                  </a:moveTo>
                  <a:lnTo>
                    <a:pt x="645" y="866"/>
                  </a:lnTo>
                  <a:lnTo>
                    <a:pt x="698" y="816"/>
                  </a:lnTo>
                  <a:cubicBezTo>
                    <a:pt x="719" y="828"/>
                    <a:pt x="733" y="846"/>
                    <a:pt x="735" y="866"/>
                  </a:cubicBezTo>
                  <a:close/>
                  <a:moveTo>
                    <a:pt x="637" y="866"/>
                  </a:moveTo>
                  <a:lnTo>
                    <a:pt x="637" y="800"/>
                  </a:lnTo>
                  <a:cubicBezTo>
                    <a:pt x="658" y="801"/>
                    <a:pt x="678" y="806"/>
                    <a:pt x="694" y="814"/>
                  </a:cubicBezTo>
                  <a:lnTo>
                    <a:pt x="638" y="866"/>
                  </a:lnTo>
                  <a:lnTo>
                    <a:pt x="638" y="866"/>
                  </a:lnTo>
                  <a:lnTo>
                    <a:pt x="637" y="866"/>
                  </a:lnTo>
                  <a:close/>
                  <a:moveTo>
                    <a:pt x="633" y="866"/>
                  </a:moveTo>
                  <a:lnTo>
                    <a:pt x="632" y="866"/>
                  </a:lnTo>
                  <a:lnTo>
                    <a:pt x="632" y="866"/>
                  </a:lnTo>
                  <a:lnTo>
                    <a:pt x="575" y="813"/>
                  </a:lnTo>
                  <a:cubicBezTo>
                    <a:pt x="591" y="805"/>
                    <a:pt x="611" y="800"/>
                    <a:pt x="633" y="800"/>
                  </a:cubicBezTo>
                  <a:lnTo>
                    <a:pt x="633" y="866"/>
                  </a:lnTo>
                  <a:close/>
                  <a:moveTo>
                    <a:pt x="630" y="875"/>
                  </a:moveTo>
                  <a:lnTo>
                    <a:pt x="630" y="980"/>
                  </a:lnTo>
                  <a:lnTo>
                    <a:pt x="531" y="980"/>
                  </a:lnTo>
                  <a:lnTo>
                    <a:pt x="531" y="875"/>
                  </a:lnTo>
                  <a:lnTo>
                    <a:pt x="630" y="875"/>
                  </a:lnTo>
                  <a:close/>
                  <a:moveTo>
                    <a:pt x="640" y="875"/>
                  </a:moveTo>
                  <a:lnTo>
                    <a:pt x="736" y="875"/>
                  </a:lnTo>
                  <a:lnTo>
                    <a:pt x="736" y="980"/>
                  </a:lnTo>
                  <a:lnTo>
                    <a:pt x="640" y="980"/>
                  </a:lnTo>
                  <a:lnTo>
                    <a:pt x="640" y="875"/>
                  </a:lnTo>
                  <a:close/>
                  <a:moveTo>
                    <a:pt x="570" y="815"/>
                  </a:moveTo>
                  <a:lnTo>
                    <a:pt x="625" y="866"/>
                  </a:lnTo>
                  <a:lnTo>
                    <a:pt x="531" y="866"/>
                  </a:lnTo>
                  <a:cubicBezTo>
                    <a:pt x="534" y="845"/>
                    <a:pt x="549" y="827"/>
                    <a:pt x="570" y="815"/>
                  </a:cubicBezTo>
                  <a:close/>
                  <a:moveTo>
                    <a:pt x="531" y="986"/>
                  </a:moveTo>
                  <a:lnTo>
                    <a:pt x="630" y="986"/>
                  </a:lnTo>
                  <a:lnTo>
                    <a:pt x="630" y="1106"/>
                  </a:lnTo>
                  <a:lnTo>
                    <a:pt x="532" y="1106"/>
                  </a:lnTo>
                  <a:lnTo>
                    <a:pt x="531" y="986"/>
                  </a:lnTo>
                  <a:close/>
                  <a:moveTo>
                    <a:pt x="640" y="1106"/>
                  </a:moveTo>
                  <a:lnTo>
                    <a:pt x="640" y="986"/>
                  </a:lnTo>
                  <a:lnTo>
                    <a:pt x="736" y="986"/>
                  </a:lnTo>
                  <a:lnTo>
                    <a:pt x="736" y="1106"/>
                  </a:lnTo>
                  <a:lnTo>
                    <a:pt x="640" y="1106"/>
                  </a:lnTo>
                  <a:close/>
                  <a:moveTo>
                    <a:pt x="452" y="866"/>
                  </a:moveTo>
                  <a:cubicBezTo>
                    <a:pt x="450" y="824"/>
                    <a:pt x="401" y="790"/>
                    <a:pt x="341" y="790"/>
                  </a:cubicBezTo>
                  <a:cubicBezTo>
                    <a:pt x="280" y="790"/>
                    <a:pt x="232" y="824"/>
                    <a:pt x="230" y="866"/>
                  </a:cubicBezTo>
                  <a:lnTo>
                    <a:pt x="230" y="1122"/>
                  </a:lnTo>
                  <a:lnTo>
                    <a:pt x="452" y="1122"/>
                  </a:lnTo>
                  <a:lnTo>
                    <a:pt x="452" y="866"/>
                  </a:lnTo>
                  <a:close/>
                  <a:moveTo>
                    <a:pt x="443" y="869"/>
                  </a:moveTo>
                  <a:lnTo>
                    <a:pt x="352" y="869"/>
                  </a:lnTo>
                  <a:lnTo>
                    <a:pt x="405" y="819"/>
                  </a:lnTo>
                  <a:cubicBezTo>
                    <a:pt x="426" y="831"/>
                    <a:pt x="440" y="849"/>
                    <a:pt x="443" y="869"/>
                  </a:cubicBezTo>
                  <a:close/>
                  <a:moveTo>
                    <a:pt x="345" y="869"/>
                  </a:moveTo>
                  <a:lnTo>
                    <a:pt x="345" y="803"/>
                  </a:lnTo>
                  <a:cubicBezTo>
                    <a:pt x="366" y="804"/>
                    <a:pt x="385" y="809"/>
                    <a:pt x="401" y="817"/>
                  </a:cubicBezTo>
                  <a:lnTo>
                    <a:pt x="345" y="869"/>
                  </a:lnTo>
                  <a:lnTo>
                    <a:pt x="345" y="869"/>
                  </a:lnTo>
                  <a:close/>
                  <a:moveTo>
                    <a:pt x="340" y="869"/>
                  </a:moveTo>
                  <a:lnTo>
                    <a:pt x="339" y="869"/>
                  </a:lnTo>
                  <a:lnTo>
                    <a:pt x="339" y="869"/>
                  </a:lnTo>
                  <a:lnTo>
                    <a:pt x="282" y="816"/>
                  </a:lnTo>
                  <a:cubicBezTo>
                    <a:pt x="299" y="808"/>
                    <a:pt x="318" y="803"/>
                    <a:pt x="340" y="803"/>
                  </a:cubicBezTo>
                  <a:lnTo>
                    <a:pt x="340" y="869"/>
                  </a:lnTo>
                  <a:close/>
                  <a:moveTo>
                    <a:pt x="338" y="878"/>
                  </a:moveTo>
                  <a:lnTo>
                    <a:pt x="338" y="983"/>
                  </a:lnTo>
                  <a:lnTo>
                    <a:pt x="239" y="983"/>
                  </a:lnTo>
                  <a:lnTo>
                    <a:pt x="238" y="878"/>
                  </a:lnTo>
                  <a:lnTo>
                    <a:pt x="338" y="878"/>
                  </a:lnTo>
                  <a:close/>
                  <a:moveTo>
                    <a:pt x="348" y="878"/>
                  </a:moveTo>
                  <a:lnTo>
                    <a:pt x="443" y="878"/>
                  </a:lnTo>
                  <a:lnTo>
                    <a:pt x="443" y="983"/>
                  </a:lnTo>
                  <a:lnTo>
                    <a:pt x="348" y="983"/>
                  </a:lnTo>
                  <a:lnTo>
                    <a:pt x="348" y="878"/>
                  </a:lnTo>
                  <a:close/>
                  <a:moveTo>
                    <a:pt x="278" y="818"/>
                  </a:moveTo>
                  <a:lnTo>
                    <a:pt x="332" y="869"/>
                  </a:lnTo>
                  <a:lnTo>
                    <a:pt x="239" y="869"/>
                  </a:lnTo>
                  <a:cubicBezTo>
                    <a:pt x="241" y="849"/>
                    <a:pt x="256" y="830"/>
                    <a:pt x="278" y="818"/>
                  </a:cubicBezTo>
                  <a:close/>
                  <a:moveTo>
                    <a:pt x="239" y="990"/>
                  </a:moveTo>
                  <a:lnTo>
                    <a:pt x="338" y="990"/>
                  </a:lnTo>
                  <a:lnTo>
                    <a:pt x="338" y="1109"/>
                  </a:lnTo>
                  <a:lnTo>
                    <a:pt x="239" y="1109"/>
                  </a:lnTo>
                  <a:lnTo>
                    <a:pt x="239" y="990"/>
                  </a:lnTo>
                  <a:close/>
                  <a:moveTo>
                    <a:pt x="348" y="1109"/>
                  </a:moveTo>
                  <a:lnTo>
                    <a:pt x="348" y="990"/>
                  </a:lnTo>
                  <a:lnTo>
                    <a:pt x="443" y="990"/>
                  </a:lnTo>
                  <a:lnTo>
                    <a:pt x="443" y="1109"/>
                  </a:lnTo>
                  <a:lnTo>
                    <a:pt x="348" y="1109"/>
                  </a:lnTo>
                  <a:close/>
                  <a:moveTo>
                    <a:pt x="460" y="2007"/>
                  </a:moveTo>
                  <a:lnTo>
                    <a:pt x="222" y="2007"/>
                  </a:lnTo>
                  <a:lnTo>
                    <a:pt x="221" y="1731"/>
                  </a:lnTo>
                  <a:cubicBezTo>
                    <a:pt x="223" y="1686"/>
                    <a:pt x="276" y="1650"/>
                    <a:pt x="341" y="1650"/>
                  </a:cubicBezTo>
                  <a:cubicBezTo>
                    <a:pt x="406" y="1650"/>
                    <a:pt x="458" y="1686"/>
                    <a:pt x="460" y="1731"/>
                  </a:cubicBezTo>
                  <a:lnTo>
                    <a:pt x="460" y="1731"/>
                  </a:lnTo>
                  <a:lnTo>
                    <a:pt x="460" y="2007"/>
                  </a:lnTo>
                  <a:close/>
                  <a:moveTo>
                    <a:pt x="460" y="1569"/>
                  </a:moveTo>
                  <a:lnTo>
                    <a:pt x="222" y="1569"/>
                  </a:lnTo>
                  <a:lnTo>
                    <a:pt x="221" y="1294"/>
                  </a:lnTo>
                  <a:cubicBezTo>
                    <a:pt x="223" y="1248"/>
                    <a:pt x="276" y="1212"/>
                    <a:pt x="341" y="1212"/>
                  </a:cubicBezTo>
                  <a:cubicBezTo>
                    <a:pt x="406" y="1212"/>
                    <a:pt x="458" y="1248"/>
                    <a:pt x="460" y="1294"/>
                  </a:cubicBezTo>
                  <a:lnTo>
                    <a:pt x="460" y="1294"/>
                  </a:lnTo>
                  <a:lnTo>
                    <a:pt x="460" y="1569"/>
                  </a:lnTo>
                  <a:close/>
                  <a:moveTo>
                    <a:pt x="460" y="1131"/>
                  </a:moveTo>
                  <a:lnTo>
                    <a:pt x="222" y="1131"/>
                  </a:lnTo>
                  <a:lnTo>
                    <a:pt x="221" y="856"/>
                  </a:lnTo>
                  <a:cubicBezTo>
                    <a:pt x="223" y="810"/>
                    <a:pt x="276" y="774"/>
                    <a:pt x="341" y="774"/>
                  </a:cubicBezTo>
                  <a:cubicBezTo>
                    <a:pt x="406" y="774"/>
                    <a:pt x="458" y="810"/>
                    <a:pt x="460" y="856"/>
                  </a:cubicBezTo>
                  <a:lnTo>
                    <a:pt x="460" y="856"/>
                  </a:lnTo>
                  <a:lnTo>
                    <a:pt x="460" y="1131"/>
                  </a:lnTo>
                  <a:close/>
                  <a:moveTo>
                    <a:pt x="752" y="2007"/>
                  </a:moveTo>
                  <a:lnTo>
                    <a:pt x="514" y="2007"/>
                  </a:lnTo>
                  <a:lnTo>
                    <a:pt x="513" y="1731"/>
                  </a:lnTo>
                  <a:cubicBezTo>
                    <a:pt x="515" y="1686"/>
                    <a:pt x="568" y="1650"/>
                    <a:pt x="633" y="1650"/>
                  </a:cubicBezTo>
                  <a:cubicBezTo>
                    <a:pt x="698" y="1650"/>
                    <a:pt x="750" y="1686"/>
                    <a:pt x="752" y="1731"/>
                  </a:cubicBezTo>
                  <a:lnTo>
                    <a:pt x="752" y="1731"/>
                  </a:lnTo>
                  <a:lnTo>
                    <a:pt x="752" y="2007"/>
                  </a:lnTo>
                  <a:close/>
                  <a:moveTo>
                    <a:pt x="752" y="1569"/>
                  </a:moveTo>
                  <a:lnTo>
                    <a:pt x="514" y="1569"/>
                  </a:lnTo>
                  <a:lnTo>
                    <a:pt x="513" y="1294"/>
                  </a:lnTo>
                  <a:cubicBezTo>
                    <a:pt x="515" y="1248"/>
                    <a:pt x="568" y="1212"/>
                    <a:pt x="633" y="1212"/>
                  </a:cubicBezTo>
                  <a:cubicBezTo>
                    <a:pt x="698" y="1212"/>
                    <a:pt x="750" y="1248"/>
                    <a:pt x="752" y="1294"/>
                  </a:cubicBezTo>
                  <a:lnTo>
                    <a:pt x="752" y="1294"/>
                  </a:lnTo>
                  <a:lnTo>
                    <a:pt x="752" y="1569"/>
                  </a:lnTo>
                  <a:close/>
                  <a:moveTo>
                    <a:pt x="752" y="1131"/>
                  </a:moveTo>
                  <a:lnTo>
                    <a:pt x="514" y="1131"/>
                  </a:lnTo>
                  <a:lnTo>
                    <a:pt x="513" y="856"/>
                  </a:lnTo>
                  <a:cubicBezTo>
                    <a:pt x="515" y="810"/>
                    <a:pt x="568" y="774"/>
                    <a:pt x="633" y="774"/>
                  </a:cubicBezTo>
                  <a:cubicBezTo>
                    <a:pt x="698" y="774"/>
                    <a:pt x="750" y="810"/>
                    <a:pt x="752" y="856"/>
                  </a:cubicBezTo>
                  <a:lnTo>
                    <a:pt x="752" y="856"/>
                  </a:lnTo>
                  <a:lnTo>
                    <a:pt x="752" y="1131"/>
                  </a:lnTo>
                  <a:close/>
                  <a:moveTo>
                    <a:pt x="1044" y="2007"/>
                  </a:moveTo>
                  <a:lnTo>
                    <a:pt x="806" y="2007"/>
                  </a:lnTo>
                  <a:lnTo>
                    <a:pt x="805" y="1731"/>
                  </a:lnTo>
                  <a:cubicBezTo>
                    <a:pt x="807" y="1686"/>
                    <a:pt x="860" y="1650"/>
                    <a:pt x="925" y="1650"/>
                  </a:cubicBezTo>
                  <a:cubicBezTo>
                    <a:pt x="990" y="1650"/>
                    <a:pt x="1042" y="1686"/>
                    <a:pt x="1044" y="1731"/>
                  </a:cubicBezTo>
                  <a:lnTo>
                    <a:pt x="1044" y="1731"/>
                  </a:lnTo>
                  <a:lnTo>
                    <a:pt x="1044" y="2007"/>
                  </a:lnTo>
                  <a:close/>
                  <a:moveTo>
                    <a:pt x="1044" y="1569"/>
                  </a:moveTo>
                  <a:lnTo>
                    <a:pt x="806" y="1569"/>
                  </a:lnTo>
                  <a:lnTo>
                    <a:pt x="805" y="1294"/>
                  </a:lnTo>
                  <a:cubicBezTo>
                    <a:pt x="807" y="1248"/>
                    <a:pt x="860" y="1212"/>
                    <a:pt x="925" y="1212"/>
                  </a:cubicBezTo>
                  <a:cubicBezTo>
                    <a:pt x="990" y="1212"/>
                    <a:pt x="1042" y="1248"/>
                    <a:pt x="1044" y="1294"/>
                  </a:cubicBezTo>
                  <a:lnTo>
                    <a:pt x="1044" y="1294"/>
                  </a:lnTo>
                  <a:lnTo>
                    <a:pt x="1044" y="1569"/>
                  </a:lnTo>
                  <a:close/>
                  <a:moveTo>
                    <a:pt x="1044" y="1131"/>
                  </a:moveTo>
                  <a:lnTo>
                    <a:pt x="806" y="1131"/>
                  </a:lnTo>
                  <a:lnTo>
                    <a:pt x="805" y="856"/>
                  </a:lnTo>
                  <a:cubicBezTo>
                    <a:pt x="807" y="810"/>
                    <a:pt x="860" y="774"/>
                    <a:pt x="925" y="774"/>
                  </a:cubicBezTo>
                  <a:cubicBezTo>
                    <a:pt x="990" y="774"/>
                    <a:pt x="1042" y="810"/>
                    <a:pt x="1044" y="856"/>
                  </a:cubicBezTo>
                  <a:lnTo>
                    <a:pt x="1044" y="856"/>
                  </a:lnTo>
                  <a:lnTo>
                    <a:pt x="1044" y="1131"/>
                  </a:lnTo>
                  <a:close/>
                  <a:moveTo>
                    <a:pt x="1336" y="2007"/>
                  </a:moveTo>
                  <a:lnTo>
                    <a:pt x="1098" y="2007"/>
                  </a:lnTo>
                  <a:lnTo>
                    <a:pt x="1097" y="1731"/>
                  </a:lnTo>
                  <a:cubicBezTo>
                    <a:pt x="1099" y="1686"/>
                    <a:pt x="1152" y="1650"/>
                    <a:pt x="1217" y="1650"/>
                  </a:cubicBezTo>
                  <a:cubicBezTo>
                    <a:pt x="1281" y="1650"/>
                    <a:pt x="1334" y="1686"/>
                    <a:pt x="1336" y="1731"/>
                  </a:cubicBezTo>
                  <a:lnTo>
                    <a:pt x="1336" y="1731"/>
                  </a:lnTo>
                  <a:lnTo>
                    <a:pt x="1336" y="2007"/>
                  </a:lnTo>
                  <a:close/>
                  <a:moveTo>
                    <a:pt x="1336" y="1569"/>
                  </a:moveTo>
                  <a:lnTo>
                    <a:pt x="1098" y="1569"/>
                  </a:lnTo>
                  <a:lnTo>
                    <a:pt x="1097" y="1294"/>
                  </a:lnTo>
                  <a:cubicBezTo>
                    <a:pt x="1099" y="1248"/>
                    <a:pt x="1152" y="1212"/>
                    <a:pt x="1217" y="1212"/>
                  </a:cubicBezTo>
                  <a:cubicBezTo>
                    <a:pt x="1281" y="1212"/>
                    <a:pt x="1334" y="1248"/>
                    <a:pt x="1336" y="1294"/>
                  </a:cubicBezTo>
                  <a:lnTo>
                    <a:pt x="1336" y="1294"/>
                  </a:lnTo>
                  <a:lnTo>
                    <a:pt x="1336" y="1569"/>
                  </a:lnTo>
                  <a:close/>
                  <a:moveTo>
                    <a:pt x="1336" y="1131"/>
                  </a:moveTo>
                  <a:lnTo>
                    <a:pt x="1098" y="1131"/>
                  </a:lnTo>
                  <a:lnTo>
                    <a:pt x="1097" y="856"/>
                  </a:lnTo>
                  <a:cubicBezTo>
                    <a:pt x="1099" y="810"/>
                    <a:pt x="1152" y="774"/>
                    <a:pt x="1217" y="774"/>
                  </a:cubicBezTo>
                  <a:cubicBezTo>
                    <a:pt x="1281" y="774"/>
                    <a:pt x="1334" y="810"/>
                    <a:pt x="1336" y="856"/>
                  </a:cubicBezTo>
                  <a:lnTo>
                    <a:pt x="1336" y="856"/>
                  </a:lnTo>
                  <a:lnTo>
                    <a:pt x="1336" y="1131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rgbClr val="377A6C"/>
              </a:solidFill>
            </a:ln>
          </p:spPr>
          <p:txBody>
            <a:bodyPr lIns="91440" tIns="45720" rIns="91440" bIns="45720"/>
            <a:lstStyle/>
            <a:p>
              <a:pPr>
                <a:defRPr/>
              </a:pPr>
              <a:endParaRPr lang="ru-RU" sz="140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2" name="Овал 81">
              <a:extLst>
                <a:ext uri="{FF2B5EF4-FFF2-40B4-BE49-F238E27FC236}">
                  <a16:creationId xmlns:a16="http://schemas.microsoft.com/office/drawing/2014/main" id="{62C589EB-A3ED-4DC8-9507-36EC40DE18C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754536" y="2294172"/>
              <a:ext cx="540113" cy="540261"/>
            </a:xfrm>
            <a:prstGeom prst="ellipse">
              <a:avLst/>
            </a:prstGeom>
            <a:solidFill>
              <a:srgbClr val="377A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r>
                <a:rPr lang="en-US" sz="1400" b="1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2</a:t>
              </a:r>
              <a:endPara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7222" name="Группа 91"/>
          <p:cNvGrpSpPr>
            <a:grpSpLocks noChangeAspect="1"/>
          </p:cNvGrpSpPr>
          <p:nvPr/>
        </p:nvGrpSpPr>
        <p:grpSpPr bwMode="auto">
          <a:xfrm>
            <a:off x="4068107" y="4685648"/>
            <a:ext cx="720090" cy="691404"/>
            <a:chOff x="4421188" y="4576763"/>
            <a:chExt cx="596900" cy="596900"/>
          </a:xfrm>
        </p:grpSpPr>
        <p:sp>
          <p:nvSpPr>
            <p:cNvPr id="90" name="Oval 42">
              <a:extLst>
                <a:ext uri="{FF2B5EF4-FFF2-40B4-BE49-F238E27FC236}">
                  <a16:creationId xmlns:a16="http://schemas.microsoft.com/office/drawing/2014/main" id="{14806680-F6FE-4745-80D5-573F028465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21188" y="4576763"/>
              <a:ext cx="596900" cy="5969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lIns="91440" tIns="45720" rIns="91440" bIns="45720"/>
            <a:lstStyle/>
            <a:p>
              <a:pPr>
                <a:defRPr/>
              </a:pPr>
              <a:endParaRPr lang="ru-RU" sz="140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1" name="Freeform 43">
              <a:extLst>
                <a:ext uri="{FF2B5EF4-FFF2-40B4-BE49-F238E27FC236}">
                  <a16:creationId xmlns:a16="http://schemas.microsoft.com/office/drawing/2014/main" id="{83700B70-23CF-45D1-800C-9B44888BF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66728" y="4799680"/>
              <a:ext cx="305819" cy="206336"/>
            </a:xfrm>
            <a:custGeom>
              <a:avLst/>
              <a:gdLst>
                <a:gd name="T0" fmla="*/ 226 w 452"/>
                <a:gd name="T1" fmla="*/ 301 h 305"/>
                <a:gd name="T2" fmla="*/ 226 w 452"/>
                <a:gd name="T3" fmla="*/ 301 h 305"/>
                <a:gd name="T4" fmla="*/ 226 w 452"/>
                <a:gd name="T5" fmla="*/ 301 h 305"/>
                <a:gd name="T6" fmla="*/ 446 w 452"/>
                <a:gd name="T7" fmla="*/ 286 h 305"/>
                <a:gd name="T8" fmla="*/ 6 w 452"/>
                <a:gd name="T9" fmla="*/ 286 h 305"/>
                <a:gd name="T10" fmla="*/ 0 w 452"/>
                <a:gd name="T11" fmla="*/ 280 h 305"/>
                <a:gd name="T12" fmla="*/ 0 w 452"/>
                <a:gd name="T13" fmla="*/ 277 h 305"/>
                <a:gd name="T14" fmla="*/ 6 w 452"/>
                <a:gd name="T15" fmla="*/ 271 h 305"/>
                <a:gd name="T16" fmla="*/ 446 w 452"/>
                <a:gd name="T17" fmla="*/ 271 h 305"/>
                <a:gd name="T18" fmla="*/ 452 w 452"/>
                <a:gd name="T19" fmla="*/ 277 h 305"/>
                <a:gd name="T20" fmla="*/ 452 w 452"/>
                <a:gd name="T21" fmla="*/ 280 h 305"/>
                <a:gd name="T22" fmla="*/ 446 w 452"/>
                <a:gd name="T23" fmla="*/ 286 h 305"/>
                <a:gd name="T24" fmla="*/ 60 w 452"/>
                <a:gd name="T25" fmla="*/ 43 h 305"/>
                <a:gd name="T26" fmla="*/ 102 w 452"/>
                <a:gd name="T27" fmla="*/ 85 h 305"/>
                <a:gd name="T28" fmla="*/ 145 w 452"/>
                <a:gd name="T29" fmla="*/ 43 h 305"/>
                <a:gd name="T30" fmla="*/ 102 w 452"/>
                <a:gd name="T31" fmla="*/ 0 h 305"/>
                <a:gd name="T32" fmla="*/ 60 w 452"/>
                <a:gd name="T33" fmla="*/ 43 h 305"/>
                <a:gd name="T34" fmla="*/ 226 w 452"/>
                <a:gd name="T35" fmla="*/ 305 h 305"/>
                <a:gd name="T36" fmla="*/ 226 w 452"/>
                <a:gd name="T37" fmla="*/ 304 h 305"/>
                <a:gd name="T38" fmla="*/ 226 w 452"/>
                <a:gd name="T39" fmla="*/ 305 h 305"/>
                <a:gd name="T40" fmla="*/ 307 w 452"/>
                <a:gd name="T41" fmla="*/ 43 h 305"/>
                <a:gd name="T42" fmla="*/ 349 w 452"/>
                <a:gd name="T43" fmla="*/ 85 h 305"/>
                <a:gd name="T44" fmla="*/ 392 w 452"/>
                <a:gd name="T45" fmla="*/ 43 h 305"/>
                <a:gd name="T46" fmla="*/ 349 w 452"/>
                <a:gd name="T47" fmla="*/ 0 h 305"/>
                <a:gd name="T48" fmla="*/ 307 w 452"/>
                <a:gd name="T49" fmla="*/ 43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52" h="305">
                  <a:moveTo>
                    <a:pt x="226" y="301"/>
                  </a:moveTo>
                  <a:cubicBezTo>
                    <a:pt x="226" y="301"/>
                    <a:pt x="226" y="301"/>
                    <a:pt x="226" y="301"/>
                  </a:cubicBezTo>
                  <a:cubicBezTo>
                    <a:pt x="226" y="301"/>
                    <a:pt x="226" y="301"/>
                    <a:pt x="226" y="301"/>
                  </a:cubicBezTo>
                  <a:close/>
                  <a:moveTo>
                    <a:pt x="446" y="286"/>
                  </a:moveTo>
                  <a:lnTo>
                    <a:pt x="6" y="286"/>
                  </a:lnTo>
                  <a:cubicBezTo>
                    <a:pt x="2" y="286"/>
                    <a:pt x="0" y="283"/>
                    <a:pt x="0" y="280"/>
                  </a:cubicBezTo>
                  <a:lnTo>
                    <a:pt x="0" y="277"/>
                  </a:lnTo>
                  <a:cubicBezTo>
                    <a:pt x="0" y="273"/>
                    <a:pt x="2" y="271"/>
                    <a:pt x="6" y="271"/>
                  </a:cubicBezTo>
                  <a:lnTo>
                    <a:pt x="446" y="271"/>
                  </a:lnTo>
                  <a:cubicBezTo>
                    <a:pt x="449" y="271"/>
                    <a:pt x="452" y="273"/>
                    <a:pt x="452" y="277"/>
                  </a:cubicBezTo>
                  <a:lnTo>
                    <a:pt x="452" y="280"/>
                  </a:lnTo>
                  <a:cubicBezTo>
                    <a:pt x="452" y="283"/>
                    <a:pt x="449" y="286"/>
                    <a:pt x="446" y="286"/>
                  </a:cubicBezTo>
                  <a:close/>
                  <a:moveTo>
                    <a:pt x="60" y="43"/>
                  </a:moveTo>
                  <a:cubicBezTo>
                    <a:pt x="60" y="66"/>
                    <a:pt x="79" y="85"/>
                    <a:pt x="102" y="85"/>
                  </a:cubicBezTo>
                  <a:cubicBezTo>
                    <a:pt x="126" y="85"/>
                    <a:pt x="145" y="66"/>
                    <a:pt x="145" y="43"/>
                  </a:cubicBezTo>
                  <a:cubicBezTo>
                    <a:pt x="145" y="19"/>
                    <a:pt x="126" y="0"/>
                    <a:pt x="102" y="0"/>
                  </a:cubicBezTo>
                  <a:cubicBezTo>
                    <a:pt x="79" y="0"/>
                    <a:pt x="60" y="19"/>
                    <a:pt x="60" y="43"/>
                  </a:cubicBezTo>
                  <a:close/>
                  <a:moveTo>
                    <a:pt x="226" y="305"/>
                  </a:moveTo>
                  <a:cubicBezTo>
                    <a:pt x="226" y="305"/>
                    <a:pt x="226" y="304"/>
                    <a:pt x="226" y="304"/>
                  </a:cubicBezTo>
                  <a:cubicBezTo>
                    <a:pt x="226" y="304"/>
                    <a:pt x="226" y="305"/>
                    <a:pt x="226" y="305"/>
                  </a:cubicBezTo>
                  <a:close/>
                  <a:moveTo>
                    <a:pt x="307" y="43"/>
                  </a:moveTo>
                  <a:cubicBezTo>
                    <a:pt x="307" y="66"/>
                    <a:pt x="326" y="85"/>
                    <a:pt x="349" y="85"/>
                  </a:cubicBezTo>
                  <a:cubicBezTo>
                    <a:pt x="373" y="85"/>
                    <a:pt x="392" y="66"/>
                    <a:pt x="392" y="43"/>
                  </a:cubicBezTo>
                  <a:cubicBezTo>
                    <a:pt x="392" y="19"/>
                    <a:pt x="373" y="0"/>
                    <a:pt x="349" y="0"/>
                  </a:cubicBezTo>
                  <a:cubicBezTo>
                    <a:pt x="326" y="0"/>
                    <a:pt x="307" y="19"/>
                    <a:pt x="307" y="4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lIns="91440" tIns="45720" rIns="91440" bIns="45720"/>
            <a:lstStyle/>
            <a:p>
              <a:pPr>
                <a:defRPr/>
              </a:pPr>
              <a:endParaRPr lang="ru-RU" sz="140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7223" name="Группа 95"/>
          <p:cNvGrpSpPr>
            <a:grpSpLocks noChangeAspect="1"/>
          </p:cNvGrpSpPr>
          <p:nvPr/>
        </p:nvGrpSpPr>
        <p:grpSpPr bwMode="auto">
          <a:xfrm>
            <a:off x="4068107" y="8129407"/>
            <a:ext cx="720090" cy="691404"/>
            <a:chOff x="4421188" y="4576763"/>
            <a:chExt cx="596900" cy="596900"/>
          </a:xfrm>
        </p:grpSpPr>
        <p:sp>
          <p:nvSpPr>
            <p:cNvPr id="97" name="Oval 42">
              <a:extLst>
                <a:ext uri="{FF2B5EF4-FFF2-40B4-BE49-F238E27FC236}">
                  <a16:creationId xmlns:a16="http://schemas.microsoft.com/office/drawing/2014/main" id="{77E17316-D469-4931-8BC8-AC183DBDDB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21188" y="4576763"/>
              <a:ext cx="596900" cy="5969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lIns="91440" tIns="45720" rIns="91440" bIns="45720"/>
            <a:lstStyle/>
            <a:p>
              <a:pPr>
                <a:defRPr/>
              </a:pPr>
              <a:endParaRPr lang="ru-RU" sz="140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8" name="Freeform 43">
              <a:extLst>
                <a:ext uri="{FF2B5EF4-FFF2-40B4-BE49-F238E27FC236}">
                  <a16:creationId xmlns:a16="http://schemas.microsoft.com/office/drawing/2014/main" id="{B9EBF2C0-0179-4262-A861-C55F785515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66728" y="4799679"/>
              <a:ext cx="305819" cy="206336"/>
            </a:xfrm>
            <a:custGeom>
              <a:avLst/>
              <a:gdLst>
                <a:gd name="T0" fmla="*/ 226 w 452"/>
                <a:gd name="T1" fmla="*/ 301 h 305"/>
                <a:gd name="T2" fmla="*/ 226 w 452"/>
                <a:gd name="T3" fmla="*/ 301 h 305"/>
                <a:gd name="T4" fmla="*/ 226 w 452"/>
                <a:gd name="T5" fmla="*/ 301 h 305"/>
                <a:gd name="T6" fmla="*/ 446 w 452"/>
                <a:gd name="T7" fmla="*/ 286 h 305"/>
                <a:gd name="T8" fmla="*/ 6 w 452"/>
                <a:gd name="T9" fmla="*/ 286 h 305"/>
                <a:gd name="T10" fmla="*/ 0 w 452"/>
                <a:gd name="T11" fmla="*/ 280 h 305"/>
                <a:gd name="T12" fmla="*/ 0 w 452"/>
                <a:gd name="T13" fmla="*/ 277 h 305"/>
                <a:gd name="T14" fmla="*/ 6 w 452"/>
                <a:gd name="T15" fmla="*/ 271 h 305"/>
                <a:gd name="T16" fmla="*/ 446 w 452"/>
                <a:gd name="T17" fmla="*/ 271 h 305"/>
                <a:gd name="T18" fmla="*/ 452 w 452"/>
                <a:gd name="T19" fmla="*/ 277 h 305"/>
                <a:gd name="T20" fmla="*/ 452 w 452"/>
                <a:gd name="T21" fmla="*/ 280 h 305"/>
                <a:gd name="T22" fmla="*/ 446 w 452"/>
                <a:gd name="T23" fmla="*/ 286 h 305"/>
                <a:gd name="T24" fmla="*/ 60 w 452"/>
                <a:gd name="T25" fmla="*/ 43 h 305"/>
                <a:gd name="T26" fmla="*/ 102 w 452"/>
                <a:gd name="T27" fmla="*/ 85 h 305"/>
                <a:gd name="T28" fmla="*/ 145 w 452"/>
                <a:gd name="T29" fmla="*/ 43 h 305"/>
                <a:gd name="T30" fmla="*/ 102 w 452"/>
                <a:gd name="T31" fmla="*/ 0 h 305"/>
                <a:gd name="T32" fmla="*/ 60 w 452"/>
                <a:gd name="T33" fmla="*/ 43 h 305"/>
                <a:gd name="T34" fmla="*/ 226 w 452"/>
                <a:gd name="T35" fmla="*/ 305 h 305"/>
                <a:gd name="T36" fmla="*/ 226 w 452"/>
                <a:gd name="T37" fmla="*/ 304 h 305"/>
                <a:gd name="T38" fmla="*/ 226 w 452"/>
                <a:gd name="T39" fmla="*/ 305 h 305"/>
                <a:gd name="T40" fmla="*/ 307 w 452"/>
                <a:gd name="T41" fmla="*/ 43 h 305"/>
                <a:gd name="T42" fmla="*/ 349 w 452"/>
                <a:gd name="T43" fmla="*/ 85 h 305"/>
                <a:gd name="T44" fmla="*/ 392 w 452"/>
                <a:gd name="T45" fmla="*/ 43 h 305"/>
                <a:gd name="T46" fmla="*/ 349 w 452"/>
                <a:gd name="T47" fmla="*/ 0 h 305"/>
                <a:gd name="T48" fmla="*/ 307 w 452"/>
                <a:gd name="T49" fmla="*/ 43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52" h="305">
                  <a:moveTo>
                    <a:pt x="226" y="301"/>
                  </a:moveTo>
                  <a:cubicBezTo>
                    <a:pt x="226" y="301"/>
                    <a:pt x="226" y="301"/>
                    <a:pt x="226" y="301"/>
                  </a:cubicBezTo>
                  <a:cubicBezTo>
                    <a:pt x="226" y="301"/>
                    <a:pt x="226" y="301"/>
                    <a:pt x="226" y="301"/>
                  </a:cubicBezTo>
                  <a:close/>
                  <a:moveTo>
                    <a:pt x="446" y="286"/>
                  </a:moveTo>
                  <a:lnTo>
                    <a:pt x="6" y="286"/>
                  </a:lnTo>
                  <a:cubicBezTo>
                    <a:pt x="2" y="286"/>
                    <a:pt x="0" y="283"/>
                    <a:pt x="0" y="280"/>
                  </a:cubicBezTo>
                  <a:lnTo>
                    <a:pt x="0" y="277"/>
                  </a:lnTo>
                  <a:cubicBezTo>
                    <a:pt x="0" y="273"/>
                    <a:pt x="2" y="271"/>
                    <a:pt x="6" y="271"/>
                  </a:cubicBezTo>
                  <a:lnTo>
                    <a:pt x="446" y="271"/>
                  </a:lnTo>
                  <a:cubicBezTo>
                    <a:pt x="449" y="271"/>
                    <a:pt x="452" y="273"/>
                    <a:pt x="452" y="277"/>
                  </a:cubicBezTo>
                  <a:lnTo>
                    <a:pt x="452" y="280"/>
                  </a:lnTo>
                  <a:cubicBezTo>
                    <a:pt x="452" y="283"/>
                    <a:pt x="449" y="286"/>
                    <a:pt x="446" y="286"/>
                  </a:cubicBezTo>
                  <a:close/>
                  <a:moveTo>
                    <a:pt x="60" y="43"/>
                  </a:moveTo>
                  <a:cubicBezTo>
                    <a:pt x="60" y="66"/>
                    <a:pt x="79" y="85"/>
                    <a:pt x="102" y="85"/>
                  </a:cubicBezTo>
                  <a:cubicBezTo>
                    <a:pt x="126" y="85"/>
                    <a:pt x="145" y="66"/>
                    <a:pt x="145" y="43"/>
                  </a:cubicBezTo>
                  <a:cubicBezTo>
                    <a:pt x="145" y="19"/>
                    <a:pt x="126" y="0"/>
                    <a:pt x="102" y="0"/>
                  </a:cubicBezTo>
                  <a:cubicBezTo>
                    <a:pt x="79" y="0"/>
                    <a:pt x="60" y="19"/>
                    <a:pt x="60" y="43"/>
                  </a:cubicBezTo>
                  <a:close/>
                  <a:moveTo>
                    <a:pt x="226" y="305"/>
                  </a:moveTo>
                  <a:cubicBezTo>
                    <a:pt x="226" y="305"/>
                    <a:pt x="226" y="304"/>
                    <a:pt x="226" y="304"/>
                  </a:cubicBezTo>
                  <a:cubicBezTo>
                    <a:pt x="226" y="304"/>
                    <a:pt x="226" y="305"/>
                    <a:pt x="226" y="305"/>
                  </a:cubicBezTo>
                  <a:close/>
                  <a:moveTo>
                    <a:pt x="307" y="43"/>
                  </a:moveTo>
                  <a:cubicBezTo>
                    <a:pt x="307" y="66"/>
                    <a:pt x="326" y="85"/>
                    <a:pt x="349" y="85"/>
                  </a:cubicBezTo>
                  <a:cubicBezTo>
                    <a:pt x="373" y="85"/>
                    <a:pt x="392" y="66"/>
                    <a:pt x="392" y="43"/>
                  </a:cubicBezTo>
                  <a:cubicBezTo>
                    <a:pt x="392" y="19"/>
                    <a:pt x="373" y="0"/>
                    <a:pt x="349" y="0"/>
                  </a:cubicBezTo>
                  <a:cubicBezTo>
                    <a:pt x="326" y="0"/>
                    <a:pt x="307" y="19"/>
                    <a:pt x="307" y="4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lIns="91440" tIns="45720" rIns="91440" bIns="45720"/>
            <a:lstStyle/>
            <a:p>
              <a:pPr>
                <a:defRPr/>
              </a:pPr>
              <a:endParaRPr lang="ru-RU" sz="140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7224" name="Группа 98"/>
          <p:cNvGrpSpPr>
            <a:grpSpLocks noChangeAspect="1"/>
          </p:cNvGrpSpPr>
          <p:nvPr/>
        </p:nvGrpSpPr>
        <p:grpSpPr bwMode="auto">
          <a:xfrm>
            <a:off x="7968594" y="8129407"/>
            <a:ext cx="720090" cy="691404"/>
            <a:chOff x="4421188" y="4576763"/>
            <a:chExt cx="596900" cy="596900"/>
          </a:xfrm>
        </p:grpSpPr>
        <p:sp>
          <p:nvSpPr>
            <p:cNvPr id="100" name="Oval 42">
              <a:extLst>
                <a:ext uri="{FF2B5EF4-FFF2-40B4-BE49-F238E27FC236}">
                  <a16:creationId xmlns:a16="http://schemas.microsoft.com/office/drawing/2014/main" id="{6034018F-2D1F-42C3-8C8F-7609F9B9CE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21188" y="4576763"/>
              <a:ext cx="596900" cy="5969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lIns="91440" tIns="45720" rIns="91440" bIns="45720"/>
            <a:lstStyle/>
            <a:p>
              <a:pPr>
                <a:defRPr/>
              </a:pPr>
              <a:endParaRPr lang="ru-RU" sz="140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1" name="Freeform 43">
              <a:extLst>
                <a:ext uri="{FF2B5EF4-FFF2-40B4-BE49-F238E27FC236}">
                  <a16:creationId xmlns:a16="http://schemas.microsoft.com/office/drawing/2014/main" id="{47BD21FE-869B-4145-8BDA-36EAD716E2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66729" y="4799679"/>
              <a:ext cx="305819" cy="206336"/>
            </a:xfrm>
            <a:custGeom>
              <a:avLst/>
              <a:gdLst>
                <a:gd name="T0" fmla="*/ 226 w 452"/>
                <a:gd name="T1" fmla="*/ 301 h 305"/>
                <a:gd name="T2" fmla="*/ 226 w 452"/>
                <a:gd name="T3" fmla="*/ 301 h 305"/>
                <a:gd name="T4" fmla="*/ 226 w 452"/>
                <a:gd name="T5" fmla="*/ 301 h 305"/>
                <a:gd name="T6" fmla="*/ 446 w 452"/>
                <a:gd name="T7" fmla="*/ 286 h 305"/>
                <a:gd name="T8" fmla="*/ 6 w 452"/>
                <a:gd name="T9" fmla="*/ 286 h 305"/>
                <a:gd name="T10" fmla="*/ 0 w 452"/>
                <a:gd name="T11" fmla="*/ 280 h 305"/>
                <a:gd name="T12" fmla="*/ 0 w 452"/>
                <a:gd name="T13" fmla="*/ 277 h 305"/>
                <a:gd name="T14" fmla="*/ 6 w 452"/>
                <a:gd name="T15" fmla="*/ 271 h 305"/>
                <a:gd name="T16" fmla="*/ 446 w 452"/>
                <a:gd name="T17" fmla="*/ 271 h 305"/>
                <a:gd name="T18" fmla="*/ 452 w 452"/>
                <a:gd name="T19" fmla="*/ 277 h 305"/>
                <a:gd name="T20" fmla="*/ 452 w 452"/>
                <a:gd name="T21" fmla="*/ 280 h 305"/>
                <a:gd name="T22" fmla="*/ 446 w 452"/>
                <a:gd name="T23" fmla="*/ 286 h 305"/>
                <a:gd name="T24" fmla="*/ 60 w 452"/>
                <a:gd name="T25" fmla="*/ 43 h 305"/>
                <a:gd name="T26" fmla="*/ 102 w 452"/>
                <a:gd name="T27" fmla="*/ 85 h 305"/>
                <a:gd name="T28" fmla="*/ 145 w 452"/>
                <a:gd name="T29" fmla="*/ 43 h 305"/>
                <a:gd name="T30" fmla="*/ 102 w 452"/>
                <a:gd name="T31" fmla="*/ 0 h 305"/>
                <a:gd name="T32" fmla="*/ 60 w 452"/>
                <a:gd name="T33" fmla="*/ 43 h 305"/>
                <a:gd name="T34" fmla="*/ 226 w 452"/>
                <a:gd name="T35" fmla="*/ 305 h 305"/>
                <a:gd name="T36" fmla="*/ 226 w 452"/>
                <a:gd name="T37" fmla="*/ 304 h 305"/>
                <a:gd name="T38" fmla="*/ 226 w 452"/>
                <a:gd name="T39" fmla="*/ 305 h 305"/>
                <a:gd name="T40" fmla="*/ 307 w 452"/>
                <a:gd name="T41" fmla="*/ 43 h 305"/>
                <a:gd name="T42" fmla="*/ 349 w 452"/>
                <a:gd name="T43" fmla="*/ 85 h 305"/>
                <a:gd name="T44" fmla="*/ 392 w 452"/>
                <a:gd name="T45" fmla="*/ 43 h 305"/>
                <a:gd name="T46" fmla="*/ 349 w 452"/>
                <a:gd name="T47" fmla="*/ 0 h 305"/>
                <a:gd name="T48" fmla="*/ 307 w 452"/>
                <a:gd name="T49" fmla="*/ 43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52" h="305">
                  <a:moveTo>
                    <a:pt x="226" y="301"/>
                  </a:moveTo>
                  <a:cubicBezTo>
                    <a:pt x="226" y="301"/>
                    <a:pt x="226" y="301"/>
                    <a:pt x="226" y="301"/>
                  </a:cubicBezTo>
                  <a:cubicBezTo>
                    <a:pt x="226" y="301"/>
                    <a:pt x="226" y="301"/>
                    <a:pt x="226" y="301"/>
                  </a:cubicBezTo>
                  <a:close/>
                  <a:moveTo>
                    <a:pt x="446" y="286"/>
                  </a:moveTo>
                  <a:lnTo>
                    <a:pt x="6" y="286"/>
                  </a:lnTo>
                  <a:cubicBezTo>
                    <a:pt x="2" y="286"/>
                    <a:pt x="0" y="283"/>
                    <a:pt x="0" y="280"/>
                  </a:cubicBezTo>
                  <a:lnTo>
                    <a:pt x="0" y="277"/>
                  </a:lnTo>
                  <a:cubicBezTo>
                    <a:pt x="0" y="273"/>
                    <a:pt x="2" y="271"/>
                    <a:pt x="6" y="271"/>
                  </a:cubicBezTo>
                  <a:lnTo>
                    <a:pt x="446" y="271"/>
                  </a:lnTo>
                  <a:cubicBezTo>
                    <a:pt x="449" y="271"/>
                    <a:pt x="452" y="273"/>
                    <a:pt x="452" y="277"/>
                  </a:cubicBezTo>
                  <a:lnTo>
                    <a:pt x="452" y="280"/>
                  </a:lnTo>
                  <a:cubicBezTo>
                    <a:pt x="452" y="283"/>
                    <a:pt x="449" y="286"/>
                    <a:pt x="446" y="286"/>
                  </a:cubicBezTo>
                  <a:close/>
                  <a:moveTo>
                    <a:pt x="60" y="43"/>
                  </a:moveTo>
                  <a:cubicBezTo>
                    <a:pt x="60" y="66"/>
                    <a:pt x="79" y="85"/>
                    <a:pt x="102" y="85"/>
                  </a:cubicBezTo>
                  <a:cubicBezTo>
                    <a:pt x="126" y="85"/>
                    <a:pt x="145" y="66"/>
                    <a:pt x="145" y="43"/>
                  </a:cubicBezTo>
                  <a:cubicBezTo>
                    <a:pt x="145" y="19"/>
                    <a:pt x="126" y="0"/>
                    <a:pt x="102" y="0"/>
                  </a:cubicBezTo>
                  <a:cubicBezTo>
                    <a:pt x="79" y="0"/>
                    <a:pt x="60" y="19"/>
                    <a:pt x="60" y="43"/>
                  </a:cubicBezTo>
                  <a:close/>
                  <a:moveTo>
                    <a:pt x="226" y="305"/>
                  </a:moveTo>
                  <a:cubicBezTo>
                    <a:pt x="226" y="305"/>
                    <a:pt x="226" y="304"/>
                    <a:pt x="226" y="304"/>
                  </a:cubicBezTo>
                  <a:cubicBezTo>
                    <a:pt x="226" y="304"/>
                    <a:pt x="226" y="305"/>
                    <a:pt x="226" y="305"/>
                  </a:cubicBezTo>
                  <a:close/>
                  <a:moveTo>
                    <a:pt x="307" y="43"/>
                  </a:moveTo>
                  <a:cubicBezTo>
                    <a:pt x="307" y="66"/>
                    <a:pt x="326" y="85"/>
                    <a:pt x="349" y="85"/>
                  </a:cubicBezTo>
                  <a:cubicBezTo>
                    <a:pt x="373" y="85"/>
                    <a:pt x="392" y="66"/>
                    <a:pt x="392" y="43"/>
                  </a:cubicBezTo>
                  <a:cubicBezTo>
                    <a:pt x="392" y="19"/>
                    <a:pt x="373" y="0"/>
                    <a:pt x="349" y="0"/>
                  </a:cubicBezTo>
                  <a:cubicBezTo>
                    <a:pt x="326" y="0"/>
                    <a:pt x="307" y="19"/>
                    <a:pt x="307" y="4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lIns="91440" tIns="45720" rIns="91440" bIns="45720"/>
            <a:lstStyle/>
            <a:p>
              <a:pPr>
                <a:defRPr/>
              </a:pPr>
              <a:endParaRPr lang="ru-RU" sz="140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7225" name="Заголовок 1"/>
          <p:cNvSpPr txBox="1">
            <a:spLocks/>
          </p:cNvSpPr>
          <p:nvPr/>
        </p:nvSpPr>
        <p:spPr bwMode="auto">
          <a:xfrm>
            <a:off x="1507967" y="18891"/>
            <a:ext cx="13395006" cy="146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  <a:tabLst>
                <a:tab pos="357188" algn="l"/>
              </a:tabLst>
            </a:pPr>
            <a:r>
              <a:rPr lang="ru-RU" altLang="ru-RU" sz="2400" b="1" smtClean="0">
                <a:solidFill>
                  <a:srgbClr val="00B05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ИМЕНЕНИЕ МЕТОДА АНАЛОГОВ ПРИ УСТАНОВЛЕНИИ НОРМАТИВА</a:t>
            </a:r>
            <a:r>
              <a:rPr lang="ru-RU" altLang="ru-RU" sz="2400" smtClean="0">
                <a:latin typeface="Verdana" panose="020B0604030504040204" pitchFamily="34" charset="0"/>
                <a:ea typeface="Verdana" panose="020B0604030504040204" pitchFamily="34" charset="0"/>
              </a:rPr>
              <a:t/>
            </a:r>
            <a:br>
              <a:rPr lang="ru-RU" altLang="ru-RU" sz="2400" smtClean="0"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ru-RU" altLang="en-US" sz="2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507967" y="780048"/>
            <a:ext cx="1397689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505468">
              <a:defRPr/>
            </a:pPr>
            <a:r>
              <a:rPr lang="ru-RU" sz="1400" dirty="0" smtClean="0">
                <a:solidFill>
                  <a:srgbClr val="000000">
                    <a:lumMod val="85000"/>
                    <a:lumOff val="15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В соответствии с Правилами </a:t>
            </a:r>
            <a:r>
              <a:rPr lang="ru-RU" sz="1400" dirty="0">
                <a:solidFill>
                  <a:srgbClr val="000000">
                    <a:lumMod val="85000"/>
                    <a:lumOff val="15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установления и определения нормативов потребления коммунальных услуг и нормативов потребления коммунальных ресурсов в целях содержания общего имущества в многоквартирном </a:t>
            </a:r>
            <a:r>
              <a:rPr lang="ru-RU" sz="1400" dirty="0" smtClean="0">
                <a:solidFill>
                  <a:srgbClr val="000000">
                    <a:lumMod val="85000"/>
                    <a:lumOff val="15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доме, утвержденных </a:t>
            </a:r>
            <a:r>
              <a:rPr lang="ru-RU" sz="1400" dirty="0">
                <a:solidFill>
                  <a:srgbClr val="000000">
                    <a:lumMod val="85000"/>
                    <a:lumOff val="15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</a:t>
            </a:r>
            <a:r>
              <a:rPr lang="ru-RU" sz="1400" dirty="0" smtClean="0">
                <a:solidFill>
                  <a:srgbClr val="000000">
                    <a:lumMod val="85000"/>
                    <a:lumOff val="15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становлением Правительства № 306:</a:t>
            </a:r>
          </a:p>
        </p:txBody>
      </p:sp>
      <p:pic>
        <p:nvPicPr>
          <p:cNvPr id="39" name="Рисунок 38">
            <a:extLst>
              <a:ext uri="{FF2B5EF4-FFF2-40B4-BE49-F238E27FC236}">
                <a16:creationId xmlns:a16="http://schemas.microsoft.com/office/drawing/2014/main" id="{18DD483E-60FD-493F-8F08-A2A91EF7CD6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16199" y="314174"/>
            <a:ext cx="2080546" cy="750848"/>
          </a:xfrm>
          <a:prstGeom prst="rect">
            <a:avLst/>
          </a:prstGeom>
        </p:spPr>
      </p:pic>
      <p:pic>
        <p:nvPicPr>
          <p:cNvPr id="40" name="Рисунок 3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279" y="224455"/>
            <a:ext cx="914400" cy="914400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1411266" y="1349682"/>
            <a:ext cx="14521837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1505468">
              <a:defRPr/>
            </a:pPr>
            <a:r>
              <a:rPr lang="ru-RU" sz="1400" dirty="0">
                <a:solidFill>
                  <a:srgbClr val="000000">
                    <a:lumMod val="85000"/>
                    <a:lumOff val="15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«</a:t>
            </a:r>
            <a:r>
              <a:rPr lang="ru-RU" sz="1400" i="1" dirty="0">
                <a:solidFill>
                  <a:srgbClr val="000000">
                    <a:lumMod val="85000"/>
                    <a:lumOff val="15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ормативы потребления коммунальных услуг в жилых помещениях устанавливаются </a:t>
            </a:r>
            <a:r>
              <a:rPr lang="ru-RU" sz="1400" b="1" i="1" dirty="0">
                <a:solidFill>
                  <a:srgbClr val="000000">
                    <a:lumMod val="85000"/>
                    <a:lumOff val="15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с применением метода аналогов или </a:t>
            </a:r>
            <a:r>
              <a:rPr lang="ru-RU" sz="1400" b="1" i="1" dirty="0" smtClean="0">
                <a:solidFill>
                  <a:srgbClr val="000000">
                    <a:lumMod val="85000"/>
                    <a:lumOff val="15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асчётного </a:t>
            </a:r>
            <a:r>
              <a:rPr lang="ru-RU" sz="1400" b="1" i="1" dirty="0">
                <a:solidFill>
                  <a:srgbClr val="000000">
                    <a:lumMod val="85000"/>
                    <a:lumOff val="15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метода</a:t>
            </a:r>
            <a:r>
              <a:rPr lang="ru-RU" sz="1400" i="1" dirty="0">
                <a:solidFill>
                  <a:srgbClr val="000000">
                    <a:lumMod val="85000"/>
                    <a:lumOff val="15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.</a:t>
            </a:r>
          </a:p>
          <a:p>
            <a:pPr lvl="0" defTabSz="1505468">
              <a:defRPr/>
            </a:pPr>
            <a:r>
              <a:rPr lang="ru-RU" sz="1400" i="1" dirty="0" smtClean="0">
                <a:solidFill>
                  <a:srgbClr val="000000">
                    <a:lumMod val="85000"/>
                    <a:lumOff val="15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асчётный </a:t>
            </a:r>
            <a:r>
              <a:rPr lang="ru-RU" sz="1400" i="1" dirty="0">
                <a:solidFill>
                  <a:srgbClr val="000000">
                    <a:lumMod val="85000"/>
                    <a:lumOff val="15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метод применяется </a:t>
            </a:r>
            <a:r>
              <a:rPr lang="ru-RU" sz="1400" i="1" u="sng" dirty="0">
                <a:solidFill>
                  <a:srgbClr val="000000">
                    <a:lumMod val="85000"/>
                    <a:lumOff val="15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в случае невозможности применения метода аналогов </a:t>
            </a:r>
            <a:r>
              <a:rPr lang="ru-RU" sz="1400" i="1" dirty="0">
                <a:solidFill>
                  <a:srgbClr val="000000">
                    <a:lumMod val="85000"/>
                    <a:lumOff val="15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о причине отсутствия или недостаточности данных приборного </a:t>
            </a:r>
            <a:r>
              <a:rPr lang="ru-RU" sz="1400" i="1" dirty="0" smtClean="0">
                <a:solidFill>
                  <a:srgbClr val="000000">
                    <a:lumMod val="85000"/>
                    <a:lumOff val="15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учёта…». </a:t>
            </a:r>
            <a:r>
              <a:rPr lang="ru-RU" sz="1400" b="1" dirty="0" smtClean="0">
                <a:latin typeface="Verdana" panose="020B0604030504040204" pitchFamily="34" charset="0"/>
                <a:ea typeface="Verdana" panose="020B0604030504040204" pitchFamily="34" charset="0"/>
              </a:rPr>
              <a:t>Метод аналогов является приоритетным!</a:t>
            </a:r>
            <a:endParaRPr lang="ru-RU" sz="14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507967" y="8937668"/>
            <a:ext cx="1366752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defTabSz="1505468">
              <a:defRPr/>
            </a:pPr>
            <a:r>
              <a:rPr lang="ru-RU" sz="1800" b="1" dirty="0" smtClean="0">
                <a:latin typeface="Verdana" panose="020B0604030504040204" pitchFamily="34" charset="0"/>
                <a:ea typeface="Verdana" panose="020B0604030504040204" pitchFamily="34" charset="0"/>
              </a:rPr>
              <a:t>Метод </a:t>
            </a:r>
            <a:r>
              <a:rPr lang="ru-RU" sz="1800" b="1" dirty="0">
                <a:latin typeface="Verdana" panose="020B0604030504040204" pitchFamily="34" charset="0"/>
                <a:ea typeface="Verdana" panose="020B0604030504040204" pitchFamily="34" charset="0"/>
              </a:rPr>
              <a:t>аналогов </a:t>
            </a:r>
            <a:r>
              <a:rPr lang="ru-RU" sz="1800" b="1" dirty="0" smtClean="0">
                <a:solidFill>
                  <a:srgbClr val="C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е соответствует </a:t>
            </a:r>
            <a:r>
              <a:rPr lang="ru-RU" sz="1800" b="1" dirty="0" smtClean="0">
                <a:latin typeface="Verdana" panose="020B0604030504040204" pitchFamily="34" charset="0"/>
                <a:ea typeface="Verdana" panose="020B0604030504040204" pitchFamily="34" charset="0"/>
              </a:rPr>
              <a:t>требованиям 261-ФЗ и должен быть исключен из Правил № 306</a:t>
            </a:r>
            <a:r>
              <a:rPr lang="ru-RU" sz="1800" b="1" dirty="0">
                <a:solidFill>
                  <a:srgbClr val="C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2800" b="1" dirty="0">
                <a:solidFill>
                  <a:srgbClr val="C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!</a:t>
            </a:r>
            <a:endParaRPr lang="ru-RU" sz="28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750264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6A5823F3-1B8E-4499-8664-44F9BCB3F8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9892" y="2253489"/>
            <a:ext cx="4434114" cy="6878187"/>
          </a:xfrm>
          <a:prstGeom prst="rect">
            <a:avLst/>
          </a:prstGeom>
        </p:spPr>
      </p:pic>
      <p:pic>
        <p:nvPicPr>
          <p:cNvPr id="1028" name="Picture 4" descr="https://thumbs.dreamstime.com/b/%D1%81%D1%82%D0%BE%D1%8F%D1%82%D1%8C-%D0%BC%D0%BE%D0%BB%D0%BE%D0%B4%D0%BE%D0%B3%D0%BE-%D0%B1%D0%B8%D0%B7%D0%BD%D0%B5%D1%81%D0%BC%D0%B5%D0%BD%D0%B0-%D0%B1%D0%B8%D1%82%D0%BD%D0%B8%D0%BA%D0%B0-%D0%B4%D1%83%D0%BC%D0%B0%D1%8F-%D0%BF%D0%BE%D0%B4-%D0%B2%D0%BE%D0%BF%D1%80%D0%BE%D1%81%D0%B8%D1%82%D0%B5%D0%BB%D1%8C%D0%BD%D1%8B%D0%BC%D0%B8-%D0%B7%D0%BD%D0%B0%D0%BA%D0%B0%D0%BC%D0%B8-102151283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39184" y="6292197"/>
            <a:ext cx="3229616" cy="3229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6" name="Выноска-облако 65"/>
          <p:cNvSpPr/>
          <p:nvPr/>
        </p:nvSpPr>
        <p:spPr>
          <a:xfrm>
            <a:off x="5473162" y="3609381"/>
            <a:ext cx="8749152" cy="2768709"/>
          </a:xfrm>
          <a:prstGeom prst="cloudCallout">
            <a:avLst>
              <a:gd name="adj1" fmla="val 40143"/>
              <a:gd name="adj2" fmla="val -65002"/>
            </a:avLst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tlCol="0" anchor="ctr"/>
          <a:lstStyle/>
          <a:p>
            <a:pPr algn="ctr"/>
            <a:endParaRPr lang="ru-RU" sz="1400" b="1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771216" y="9169685"/>
            <a:ext cx="374359" cy="66582"/>
          </a:xfrm>
        </p:spPr>
        <p:txBody>
          <a:bodyPr/>
          <a:lstStyle/>
          <a:p>
            <a:fld id="{F90E5A77-D385-4CDE-8FE8-D3E3CBE93E71}" type="slidenum">
              <a:rPr lang="en-US" smtClean="0"/>
              <a:pPr/>
              <a:t>11</a:t>
            </a:fld>
            <a:endParaRPr lang="en-US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18DD483E-60FD-493F-8F08-A2A91EF7CD6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16199" y="314174"/>
            <a:ext cx="2080546" cy="750848"/>
          </a:xfrm>
          <a:prstGeom prst="rect">
            <a:avLst/>
          </a:prstGeom>
        </p:spPr>
      </p:pic>
      <p:sp>
        <p:nvSpPr>
          <p:cNvPr id="6" name="Заголовок 2"/>
          <p:cNvSpPr txBox="1">
            <a:spLocks/>
          </p:cNvSpPr>
          <p:nvPr/>
        </p:nvSpPr>
        <p:spPr>
          <a:xfrm>
            <a:off x="1674980" y="545863"/>
            <a:ext cx="10913851" cy="44027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80128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92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</a:pPr>
            <a:r>
              <a:rPr lang="ru-RU" sz="2800" dirty="0" smtClean="0">
                <a:solidFill>
                  <a:srgbClr val="00B05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ИМЕНЕНИЕ ПОКАЗАНИЙ ИПУ ПРИ РАСЧЁТЕ РАЗМЕРА ПЛАТЫ В МЕЖОТОПИТЕЛЬНЫЙ ПЕРИОД</a:t>
            </a:r>
            <a:endParaRPr lang="ru-RU" sz="1600" dirty="0">
              <a:solidFill>
                <a:srgbClr val="00B05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785" y="314174"/>
            <a:ext cx="914400" cy="914400"/>
          </a:xfrm>
          <a:prstGeom prst="rect">
            <a:avLst/>
          </a:prstGeom>
        </p:spPr>
      </p:pic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E23894A8-8001-46BF-8DC3-8A9BFF7F740E}"/>
              </a:ext>
            </a:extLst>
          </p:cNvPr>
          <p:cNvCxnSpPr>
            <a:cxnSpLocks/>
          </p:cNvCxnSpPr>
          <p:nvPr/>
        </p:nvCxnSpPr>
        <p:spPr>
          <a:xfrm>
            <a:off x="1903798" y="8946995"/>
            <a:ext cx="75047" cy="0"/>
          </a:xfrm>
          <a:prstGeom prst="line">
            <a:avLst/>
          </a:prstGeom>
          <a:ln w="27305">
            <a:solidFill>
              <a:srgbClr val="DD121B">
                <a:alpha val="58000"/>
              </a:srgbClr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id="{4A12274D-1BDD-4F4A-A94B-56918898EA3B}"/>
              </a:ext>
            </a:extLst>
          </p:cNvPr>
          <p:cNvCxnSpPr>
            <a:cxnSpLocks/>
          </p:cNvCxnSpPr>
          <p:nvPr/>
        </p:nvCxnSpPr>
        <p:spPr>
          <a:xfrm>
            <a:off x="859892" y="8922222"/>
            <a:ext cx="4540514" cy="1369"/>
          </a:xfrm>
          <a:prstGeom prst="line">
            <a:avLst/>
          </a:prstGeom>
          <a:ln w="38100">
            <a:solidFill>
              <a:srgbClr val="DD121B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E451C619-20C2-47E9-8B35-503F7704D743}"/>
              </a:ext>
            </a:extLst>
          </p:cNvPr>
          <p:cNvCxnSpPr>
            <a:cxnSpLocks/>
          </p:cNvCxnSpPr>
          <p:nvPr/>
        </p:nvCxnSpPr>
        <p:spPr>
          <a:xfrm>
            <a:off x="958395" y="8829644"/>
            <a:ext cx="4441133" cy="1"/>
          </a:xfrm>
          <a:prstGeom prst="line">
            <a:avLst/>
          </a:prstGeom>
          <a:ln w="38100">
            <a:solidFill>
              <a:srgbClr val="DD121B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3" name="TextBox 19">
            <a:extLst>
              <a:ext uri="{FF2B5EF4-FFF2-40B4-BE49-F238E27FC236}">
                <a16:creationId xmlns:a16="http://schemas.microsoft.com/office/drawing/2014/main" id="{2CFF18EB-4F2F-4754-831C-AE914E4D1B81}"/>
              </a:ext>
            </a:extLst>
          </p:cNvPr>
          <p:cNvSpPr txBox="1"/>
          <p:nvPr/>
        </p:nvSpPr>
        <p:spPr>
          <a:xfrm>
            <a:off x="2154653" y="7851976"/>
            <a:ext cx="69920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fi-FI"/>
            </a:defPPr>
            <a:lvl1pPr marL="0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7667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5334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13002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50669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88336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26003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63670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01338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highlight>
                  <a:srgbClr val="5AC37D"/>
                </a:highlight>
                <a:latin typeface="Verdana" panose="020B0604030504040204" pitchFamily="34" charset="0"/>
                <a:ea typeface="Verdana" panose="020B0604030504040204" pitchFamily="34" charset="0"/>
              </a:rPr>
              <a:t>ИПУ</a:t>
            </a:r>
          </a:p>
        </p:txBody>
      </p: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F627D831-9329-404B-BEB6-A506CAE79627}"/>
              </a:ext>
            </a:extLst>
          </p:cNvPr>
          <p:cNvCxnSpPr>
            <a:cxnSpLocks/>
          </p:cNvCxnSpPr>
          <p:nvPr/>
        </p:nvCxnSpPr>
        <p:spPr>
          <a:xfrm flipV="1">
            <a:off x="859892" y="8995824"/>
            <a:ext cx="4539636" cy="3642"/>
          </a:xfrm>
          <a:prstGeom prst="line">
            <a:avLst/>
          </a:prstGeom>
          <a:ln w="38100">
            <a:solidFill>
              <a:srgbClr val="1B6EAF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6" name="TextBox 41">
            <a:extLst>
              <a:ext uri="{FF2B5EF4-FFF2-40B4-BE49-F238E27FC236}">
                <a16:creationId xmlns:a16="http://schemas.microsoft.com/office/drawing/2014/main" id="{70A0ACB5-1BD8-4BD6-BA19-333B17B3059E}"/>
              </a:ext>
            </a:extLst>
          </p:cNvPr>
          <p:cNvSpPr txBox="1"/>
          <p:nvPr/>
        </p:nvSpPr>
        <p:spPr>
          <a:xfrm>
            <a:off x="2162902" y="7270834"/>
            <a:ext cx="69920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fi-FI"/>
            </a:defPPr>
            <a:lvl1pPr marL="0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7667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5334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13002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50669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88336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26003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63670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01338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highlight>
                  <a:srgbClr val="5AC37D"/>
                </a:highlight>
                <a:latin typeface="Verdana" panose="020B0604030504040204" pitchFamily="34" charset="0"/>
                <a:ea typeface="Verdana" panose="020B0604030504040204" pitchFamily="34" charset="0"/>
              </a:rPr>
              <a:t>ИПУ</a:t>
            </a:r>
          </a:p>
        </p:txBody>
      </p:sp>
      <p:sp>
        <p:nvSpPr>
          <p:cNvPr id="17" name="TextBox 42">
            <a:extLst>
              <a:ext uri="{FF2B5EF4-FFF2-40B4-BE49-F238E27FC236}">
                <a16:creationId xmlns:a16="http://schemas.microsoft.com/office/drawing/2014/main" id="{6A1D714A-6902-48F9-B7BF-1BB3078901AA}"/>
              </a:ext>
            </a:extLst>
          </p:cNvPr>
          <p:cNvSpPr txBox="1"/>
          <p:nvPr/>
        </p:nvSpPr>
        <p:spPr>
          <a:xfrm>
            <a:off x="2154349" y="6662983"/>
            <a:ext cx="69920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fi-FI"/>
            </a:defPPr>
            <a:lvl1pPr marL="0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7667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5334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13002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50669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88336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26003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63670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01338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highlight>
                  <a:srgbClr val="5AC37D"/>
                </a:highlight>
                <a:latin typeface="Verdana" panose="020B0604030504040204" pitchFamily="34" charset="0"/>
                <a:ea typeface="Verdana" panose="020B0604030504040204" pitchFamily="34" charset="0"/>
              </a:rPr>
              <a:t>ИПУ</a:t>
            </a:r>
          </a:p>
        </p:txBody>
      </p:sp>
      <p:sp>
        <p:nvSpPr>
          <p:cNvPr id="18" name="TextBox 43">
            <a:extLst>
              <a:ext uri="{FF2B5EF4-FFF2-40B4-BE49-F238E27FC236}">
                <a16:creationId xmlns:a16="http://schemas.microsoft.com/office/drawing/2014/main" id="{E30B0266-A9E4-475F-9C2A-B3CB4C736D50}"/>
              </a:ext>
            </a:extLst>
          </p:cNvPr>
          <p:cNvSpPr txBox="1"/>
          <p:nvPr/>
        </p:nvSpPr>
        <p:spPr>
          <a:xfrm>
            <a:off x="2163207" y="6078509"/>
            <a:ext cx="69920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fi-FI"/>
            </a:defPPr>
            <a:lvl1pPr marL="0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7667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5334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13002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50669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88336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26003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63670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01338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highlight>
                  <a:srgbClr val="5AC37D"/>
                </a:highlight>
                <a:latin typeface="Verdana" panose="020B0604030504040204" pitchFamily="34" charset="0"/>
                <a:ea typeface="Verdana" panose="020B0604030504040204" pitchFamily="34" charset="0"/>
              </a:rPr>
              <a:t>ИПУ</a:t>
            </a:r>
          </a:p>
        </p:txBody>
      </p:sp>
      <p:sp>
        <p:nvSpPr>
          <p:cNvPr id="19" name="TextBox 44">
            <a:extLst>
              <a:ext uri="{FF2B5EF4-FFF2-40B4-BE49-F238E27FC236}">
                <a16:creationId xmlns:a16="http://schemas.microsoft.com/office/drawing/2014/main" id="{70B11248-2E3A-42A9-AFCF-FF508AB84ED7}"/>
              </a:ext>
            </a:extLst>
          </p:cNvPr>
          <p:cNvSpPr txBox="1"/>
          <p:nvPr/>
        </p:nvSpPr>
        <p:spPr>
          <a:xfrm>
            <a:off x="2162902" y="5480899"/>
            <a:ext cx="69920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fi-FI"/>
            </a:defPPr>
            <a:lvl1pPr marL="0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7667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5334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13002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50669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88336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26003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63670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01338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highlight>
                  <a:srgbClr val="5AC37D"/>
                </a:highlight>
                <a:latin typeface="Verdana" panose="020B0604030504040204" pitchFamily="34" charset="0"/>
                <a:ea typeface="Verdana" panose="020B0604030504040204" pitchFamily="34" charset="0"/>
              </a:rPr>
              <a:t>ИПУ</a:t>
            </a:r>
          </a:p>
        </p:txBody>
      </p:sp>
      <p:sp>
        <p:nvSpPr>
          <p:cNvPr id="20" name="TextBox 45">
            <a:extLst>
              <a:ext uri="{FF2B5EF4-FFF2-40B4-BE49-F238E27FC236}">
                <a16:creationId xmlns:a16="http://schemas.microsoft.com/office/drawing/2014/main" id="{ADCB87E0-B7C1-4CC9-BFCB-AEE6ABBC4275}"/>
              </a:ext>
            </a:extLst>
          </p:cNvPr>
          <p:cNvSpPr txBox="1"/>
          <p:nvPr/>
        </p:nvSpPr>
        <p:spPr>
          <a:xfrm>
            <a:off x="2168243" y="4895367"/>
            <a:ext cx="69920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fi-FI"/>
            </a:defPPr>
            <a:lvl1pPr marL="0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7667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5334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13002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50669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88336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26003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63670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01338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highlight>
                  <a:srgbClr val="5AC37D"/>
                </a:highlight>
                <a:latin typeface="Verdana" panose="020B0604030504040204" pitchFamily="34" charset="0"/>
                <a:ea typeface="Verdana" panose="020B0604030504040204" pitchFamily="34" charset="0"/>
              </a:rPr>
              <a:t>ИПУ</a:t>
            </a:r>
          </a:p>
        </p:txBody>
      </p:sp>
      <p:sp>
        <p:nvSpPr>
          <p:cNvPr id="21" name="TextBox 46">
            <a:extLst>
              <a:ext uri="{FF2B5EF4-FFF2-40B4-BE49-F238E27FC236}">
                <a16:creationId xmlns:a16="http://schemas.microsoft.com/office/drawing/2014/main" id="{A2E39883-AE67-4CEE-9E9A-1F9E3853F0FC}"/>
              </a:ext>
            </a:extLst>
          </p:cNvPr>
          <p:cNvSpPr txBox="1"/>
          <p:nvPr/>
        </p:nvSpPr>
        <p:spPr>
          <a:xfrm>
            <a:off x="2143144" y="3067496"/>
            <a:ext cx="69920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fi-FI"/>
            </a:defPPr>
            <a:lvl1pPr marL="0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7667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5334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13002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50669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88336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26003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63670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01338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highlight>
                  <a:srgbClr val="5AC37D"/>
                </a:highlight>
                <a:latin typeface="Verdana" panose="020B0604030504040204" pitchFamily="34" charset="0"/>
                <a:ea typeface="Verdana" panose="020B0604030504040204" pitchFamily="34" charset="0"/>
              </a:rPr>
              <a:t>ИПУ</a:t>
            </a:r>
          </a:p>
        </p:txBody>
      </p:sp>
      <p:sp>
        <p:nvSpPr>
          <p:cNvPr id="22" name="TextBox 47">
            <a:extLst>
              <a:ext uri="{FF2B5EF4-FFF2-40B4-BE49-F238E27FC236}">
                <a16:creationId xmlns:a16="http://schemas.microsoft.com/office/drawing/2014/main" id="{0B8BA727-B358-4166-9F1D-591A829AF6F7}"/>
              </a:ext>
            </a:extLst>
          </p:cNvPr>
          <p:cNvSpPr txBox="1"/>
          <p:nvPr/>
        </p:nvSpPr>
        <p:spPr>
          <a:xfrm>
            <a:off x="2154350" y="4315130"/>
            <a:ext cx="69920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fi-FI"/>
            </a:defPPr>
            <a:lvl1pPr marL="0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7667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5334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13002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50669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88336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26003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63670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01338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highlight>
                  <a:srgbClr val="5AC37D"/>
                </a:highlight>
                <a:latin typeface="Verdana" panose="020B0604030504040204" pitchFamily="34" charset="0"/>
                <a:ea typeface="Verdana" panose="020B0604030504040204" pitchFamily="34" charset="0"/>
              </a:rPr>
              <a:t>ИПУ</a:t>
            </a:r>
          </a:p>
        </p:txBody>
      </p:sp>
      <p:sp>
        <p:nvSpPr>
          <p:cNvPr id="23" name="TextBox 48">
            <a:extLst>
              <a:ext uri="{FF2B5EF4-FFF2-40B4-BE49-F238E27FC236}">
                <a16:creationId xmlns:a16="http://schemas.microsoft.com/office/drawing/2014/main" id="{DBD2D6E8-E120-456C-8E5D-81E0A59E8A9C}"/>
              </a:ext>
            </a:extLst>
          </p:cNvPr>
          <p:cNvSpPr txBox="1"/>
          <p:nvPr/>
        </p:nvSpPr>
        <p:spPr>
          <a:xfrm>
            <a:off x="2154349" y="3671034"/>
            <a:ext cx="69920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fi-FI"/>
            </a:defPPr>
            <a:lvl1pPr marL="0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7667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5334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13002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50669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88336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26003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63670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01338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highlight>
                  <a:srgbClr val="5AC37D"/>
                </a:highlight>
                <a:latin typeface="Verdana" panose="020B0604030504040204" pitchFamily="34" charset="0"/>
                <a:ea typeface="Verdana" panose="020B0604030504040204" pitchFamily="34" charset="0"/>
              </a:rPr>
              <a:t>ИПУ</a:t>
            </a:r>
          </a:p>
        </p:txBody>
      </p:sp>
      <p:sp>
        <p:nvSpPr>
          <p:cNvPr id="24" name="Овал 23">
            <a:extLst>
              <a:ext uri="{FF2B5EF4-FFF2-40B4-BE49-F238E27FC236}">
                <a16:creationId xmlns:a16="http://schemas.microsoft.com/office/drawing/2014/main" id="{6B4E38CC-AB24-4302-A01E-8EF8276D770F}"/>
              </a:ext>
            </a:extLst>
          </p:cNvPr>
          <p:cNvSpPr/>
          <p:nvPr/>
        </p:nvSpPr>
        <p:spPr>
          <a:xfrm>
            <a:off x="4081958" y="8706496"/>
            <a:ext cx="496954" cy="401780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i-FI"/>
            </a:defPPr>
            <a:lvl1pPr marL="0" algn="l" defTabSz="1075334" rtl="0" eaLnBrk="1" latinLnBrk="0" hangingPunct="1">
              <a:defRPr sz="2117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37667" algn="l" defTabSz="1075334" rtl="0" eaLnBrk="1" latinLnBrk="0" hangingPunct="1">
              <a:defRPr sz="2117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75334" algn="l" defTabSz="1075334" rtl="0" eaLnBrk="1" latinLnBrk="0" hangingPunct="1">
              <a:defRPr sz="2117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13002" algn="l" defTabSz="1075334" rtl="0" eaLnBrk="1" latinLnBrk="0" hangingPunct="1">
              <a:defRPr sz="2117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50669" algn="l" defTabSz="1075334" rtl="0" eaLnBrk="1" latinLnBrk="0" hangingPunct="1">
              <a:defRPr sz="2117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688336" algn="l" defTabSz="1075334" rtl="0" eaLnBrk="1" latinLnBrk="0" hangingPunct="1">
              <a:defRPr sz="2117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226003" algn="l" defTabSz="1075334" rtl="0" eaLnBrk="1" latinLnBrk="0" hangingPunct="1">
              <a:defRPr sz="2117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763670" algn="l" defTabSz="1075334" rtl="0" eaLnBrk="1" latinLnBrk="0" hangingPunct="1">
              <a:defRPr sz="2117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301338" algn="l" defTabSz="1075334" rtl="0" eaLnBrk="1" latinLnBrk="0" hangingPunct="1">
              <a:defRPr sz="2117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/>
          </a:p>
        </p:txBody>
      </p:sp>
      <p:sp>
        <p:nvSpPr>
          <p:cNvPr id="25" name="TextBox 51">
            <a:extLst>
              <a:ext uri="{FF2B5EF4-FFF2-40B4-BE49-F238E27FC236}">
                <a16:creationId xmlns:a16="http://schemas.microsoft.com/office/drawing/2014/main" id="{74BBAA1B-3F71-49BF-AD54-E8CCB4833155}"/>
              </a:ext>
            </a:extLst>
          </p:cNvPr>
          <p:cNvSpPr txBox="1"/>
          <p:nvPr/>
        </p:nvSpPr>
        <p:spPr>
          <a:xfrm>
            <a:off x="4073045" y="8768886"/>
            <a:ext cx="726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i-FI"/>
            </a:defPPr>
            <a:lvl1pPr marL="0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7667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5334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13002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50669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88336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26003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63670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01338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latin typeface="Verdana" panose="020B0604030504040204" pitchFamily="34" charset="0"/>
                <a:ea typeface="Verdana" panose="020B0604030504040204" pitchFamily="34" charset="0"/>
              </a:rPr>
              <a:t>ОПУ</a:t>
            </a:r>
          </a:p>
        </p:txBody>
      </p:sp>
      <p:cxnSp>
        <p:nvCxnSpPr>
          <p:cNvPr id="27" name="Прямая соединительная линия 26">
            <a:extLst>
              <a:ext uri="{FF2B5EF4-FFF2-40B4-BE49-F238E27FC236}">
                <a16:creationId xmlns:a16="http://schemas.microsoft.com/office/drawing/2014/main" id="{7D3D6282-A6BB-4E58-BE90-918C7603E2CB}"/>
              </a:ext>
            </a:extLst>
          </p:cNvPr>
          <p:cNvCxnSpPr>
            <a:cxnSpLocks/>
          </p:cNvCxnSpPr>
          <p:nvPr/>
        </p:nvCxnSpPr>
        <p:spPr>
          <a:xfrm flipV="1">
            <a:off x="3556841" y="2672687"/>
            <a:ext cx="4" cy="171950"/>
          </a:xfrm>
          <a:prstGeom prst="line">
            <a:avLst/>
          </a:prstGeom>
          <a:ln w="38100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67">
            <a:extLst>
              <a:ext uri="{FF2B5EF4-FFF2-40B4-BE49-F238E27FC236}">
                <a16:creationId xmlns:a16="http://schemas.microsoft.com/office/drawing/2014/main" id="{DDA36EC1-27ED-414E-83E1-7E60546A35C5}"/>
              </a:ext>
            </a:extLst>
          </p:cNvPr>
          <p:cNvSpPr txBox="1"/>
          <p:nvPr/>
        </p:nvSpPr>
        <p:spPr>
          <a:xfrm>
            <a:off x="3502708" y="7357892"/>
            <a:ext cx="93359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fi-FI"/>
            </a:defPPr>
            <a:lvl1pPr marL="0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7667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5334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13002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50669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88336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26003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63670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01338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b="1" dirty="0">
                <a:highlight>
                  <a:srgbClr val="FAD8CE"/>
                </a:highlight>
                <a:latin typeface="Verdana" panose="020B0604030504040204" pitchFamily="34" charset="0"/>
                <a:ea typeface="Verdana" panose="020B0604030504040204" pitchFamily="34" charset="0"/>
              </a:rPr>
              <a:t>ОДН</a:t>
            </a:r>
            <a:endParaRPr lang="ru-RU" sz="2000" b="1" dirty="0">
              <a:highlight>
                <a:srgbClr val="FAD8CE"/>
              </a:highlight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9" name="TextBox 19">
            <a:extLst>
              <a:ext uri="{FF2B5EF4-FFF2-40B4-BE49-F238E27FC236}">
                <a16:creationId xmlns:a16="http://schemas.microsoft.com/office/drawing/2014/main" id="{C08844EC-35EC-4BF6-9BEE-CC8FCE45BCFC}"/>
              </a:ext>
            </a:extLst>
          </p:cNvPr>
          <p:cNvSpPr txBox="1"/>
          <p:nvPr/>
        </p:nvSpPr>
        <p:spPr>
          <a:xfrm>
            <a:off x="2169866" y="8428441"/>
            <a:ext cx="69920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fi-FI"/>
            </a:defPPr>
            <a:lvl1pPr marL="0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7667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5334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13002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50669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88336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26003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63670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01338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highlight>
                  <a:srgbClr val="5AC37D"/>
                </a:highlight>
                <a:latin typeface="Verdana" panose="020B0604030504040204" pitchFamily="34" charset="0"/>
                <a:ea typeface="Verdana" panose="020B0604030504040204" pitchFamily="34" charset="0"/>
              </a:rPr>
              <a:t>ИПУ</a:t>
            </a:r>
          </a:p>
        </p:txBody>
      </p:sp>
      <p:sp>
        <p:nvSpPr>
          <p:cNvPr id="40" name="Скругленная прямоугольная выноска 39"/>
          <p:cNvSpPr/>
          <p:nvPr/>
        </p:nvSpPr>
        <p:spPr>
          <a:xfrm>
            <a:off x="3933022" y="7843279"/>
            <a:ext cx="1954876" cy="385468"/>
          </a:xfrm>
          <a:prstGeom prst="wedgeRoundRectCallout">
            <a:avLst>
              <a:gd name="adj1" fmla="val -28699"/>
              <a:gd name="adj2" fmla="val 187633"/>
              <a:gd name="adj3" fmla="val 16667"/>
            </a:avLst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TextBox 51">
            <a:extLst>
              <a:ext uri="{FF2B5EF4-FFF2-40B4-BE49-F238E27FC236}">
                <a16:creationId xmlns:a16="http://schemas.microsoft.com/office/drawing/2014/main" id="{74BBAA1B-3F71-49BF-AD54-E8CCB4833155}"/>
              </a:ext>
            </a:extLst>
          </p:cNvPr>
          <p:cNvSpPr txBox="1"/>
          <p:nvPr/>
        </p:nvSpPr>
        <p:spPr>
          <a:xfrm>
            <a:off x="3933023" y="7851465"/>
            <a:ext cx="189794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i-FI"/>
            </a:defPPr>
            <a:lvl1pPr marL="0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7667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5334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13002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50669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88336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26003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63670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01338" algn="l" defTabSz="1075334" rtl="0" eaLnBrk="1" latinLnBrk="0" hangingPunct="1"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b="1" dirty="0" smtClean="0">
                <a:latin typeface="Verdana" panose="020B0604030504040204" pitchFamily="34" charset="0"/>
                <a:ea typeface="Verdana" panose="020B0604030504040204" pitchFamily="34" charset="0"/>
              </a:rPr>
              <a:t>ОПУ - 15 Гкал</a:t>
            </a:r>
            <a:endParaRPr lang="ru-RU" sz="16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8" name="Скругленная прямоугольная выноска 47"/>
          <p:cNvSpPr/>
          <p:nvPr/>
        </p:nvSpPr>
        <p:spPr>
          <a:xfrm>
            <a:off x="3235047" y="2759233"/>
            <a:ext cx="2595921" cy="403500"/>
          </a:xfrm>
          <a:prstGeom prst="wedgeRoundRectCallout">
            <a:avLst>
              <a:gd name="adj1" fmla="val -61206"/>
              <a:gd name="adj2" fmla="val 140780"/>
              <a:gd name="adj3" fmla="val 16667"/>
            </a:avLst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Прямоугольник 38"/>
          <p:cNvSpPr/>
          <p:nvPr/>
        </p:nvSpPr>
        <p:spPr>
          <a:xfrm>
            <a:off x="3502708" y="2790093"/>
            <a:ext cx="237904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b="1" dirty="0">
                <a:latin typeface="Verdana" panose="020B0604030504040204" pitchFamily="34" charset="0"/>
                <a:ea typeface="Verdana" panose="020B0604030504040204" pitchFamily="34" charset="0"/>
              </a:rPr>
              <a:t>∑ ИПУ – 10 Гкал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1632184" y="1358677"/>
            <a:ext cx="1283190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latin typeface="Verdana" panose="020B0604030504040204" pitchFamily="34" charset="0"/>
                <a:ea typeface="Verdana" panose="020B0604030504040204" pitchFamily="34" charset="0"/>
              </a:rPr>
              <a:t>На </a:t>
            </a: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</a:rPr>
              <a:t>сегодняшний день сложилась практика, при которой </a:t>
            </a:r>
            <a:r>
              <a:rPr lang="ru-RU" sz="1600" dirty="0" smtClean="0">
                <a:latin typeface="Verdana" panose="020B0604030504040204" pitchFamily="34" charset="0"/>
                <a:ea typeface="Verdana" panose="020B0604030504040204" pitchFamily="34" charset="0"/>
              </a:rPr>
              <a:t>в многоквартирном доме оборудованном ОДПУ и ИПУ                              в межотопительный период ресурсоснабжающая организация обязана использовать при расчёте платы показания ИПУ, показания ОДПУ не принимаются. </a:t>
            </a:r>
            <a:endParaRPr lang="ru-RU" sz="16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7008195" y="2286744"/>
            <a:ext cx="706933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dirty="0" smtClean="0">
                <a:latin typeface="Verdana" panose="020B0604030504040204" pitchFamily="34" charset="0"/>
                <a:ea typeface="Verdana" panose="020B0604030504040204" pitchFamily="34" charset="0"/>
              </a:rPr>
              <a:t>ОДПУ</a:t>
            </a:r>
            <a:r>
              <a:rPr lang="ru-RU" sz="2000" b="1" dirty="0" smtClean="0">
                <a:latin typeface="Verdana" panose="020B0604030504040204" pitchFamily="34" charset="0"/>
                <a:ea typeface="Verdana" panose="020B0604030504040204" pitchFamily="34" charset="0"/>
              </a:rPr>
              <a:t> 15 Гкал     =   </a:t>
            </a:r>
            <a:r>
              <a:rPr lang="ru-RU" sz="2000" dirty="0" smtClean="0">
                <a:latin typeface="Verdana" panose="020B0604030504040204" pitchFamily="34" charset="0"/>
                <a:ea typeface="Verdana" panose="020B0604030504040204" pitchFamily="34" charset="0"/>
              </a:rPr>
              <a:t>∑ </a:t>
            </a:r>
            <a:r>
              <a:rPr lang="ru-RU" sz="2000" dirty="0">
                <a:latin typeface="Verdana" panose="020B0604030504040204" pitchFamily="34" charset="0"/>
                <a:ea typeface="Verdana" panose="020B0604030504040204" pitchFamily="34" charset="0"/>
              </a:rPr>
              <a:t>ИПУ </a:t>
            </a:r>
            <a:r>
              <a:rPr lang="ru-RU" sz="2000" b="1" dirty="0" smtClean="0">
                <a:latin typeface="Verdana" panose="020B0604030504040204" pitchFamily="34" charset="0"/>
                <a:ea typeface="Verdana" panose="020B0604030504040204" pitchFamily="34" charset="0"/>
              </a:rPr>
              <a:t>10 Гкал    +     5 Гкал</a:t>
            </a:r>
            <a:endParaRPr lang="ru-RU" sz="20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9876664" y="2209856"/>
            <a:ext cx="2310063" cy="580237"/>
          </a:xfrm>
          <a:prstGeom prst="rect">
            <a:avLst/>
          </a:prstGeom>
          <a:noFill/>
          <a:ln w="19050">
            <a:solidFill>
              <a:srgbClr val="42B4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Прямоугольник 52"/>
          <p:cNvSpPr/>
          <p:nvPr/>
        </p:nvSpPr>
        <p:spPr>
          <a:xfrm>
            <a:off x="10140216" y="2785586"/>
            <a:ext cx="176211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solidFill>
                  <a:srgbClr val="00B05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лачивает собственник</a:t>
            </a:r>
            <a:endParaRPr lang="ru-RU" sz="1600" dirty="0">
              <a:solidFill>
                <a:srgbClr val="00B050"/>
              </a:solidFill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12667991" y="2207602"/>
            <a:ext cx="1672390" cy="580237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" name="Прямоугольник 54"/>
          <p:cNvSpPr/>
          <p:nvPr/>
        </p:nvSpPr>
        <p:spPr>
          <a:xfrm>
            <a:off x="13185348" y="2824178"/>
            <a:ext cx="93846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solidFill>
                  <a:srgbClr val="C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???</a:t>
            </a:r>
            <a:endParaRPr lang="ru-RU" sz="1600" b="1" dirty="0">
              <a:solidFill>
                <a:srgbClr val="C00000"/>
              </a:solidFill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7008195" y="2876110"/>
            <a:ext cx="218796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 smtClean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оставила РСО</a:t>
            </a:r>
            <a:endParaRPr lang="ru-RU" sz="1600" dirty="0">
              <a:solidFill>
                <a:srgbClr val="002060"/>
              </a:solidFill>
            </a:endParaRPr>
          </a:p>
        </p:txBody>
      </p:sp>
      <p:grpSp>
        <p:nvGrpSpPr>
          <p:cNvPr id="68" name="Группа 67"/>
          <p:cNvGrpSpPr/>
          <p:nvPr/>
        </p:nvGrpSpPr>
        <p:grpSpPr>
          <a:xfrm>
            <a:off x="6314863" y="4240307"/>
            <a:ext cx="8277344" cy="1259625"/>
            <a:chOff x="6147422" y="4218915"/>
            <a:chExt cx="8277344" cy="1906113"/>
          </a:xfrm>
        </p:grpSpPr>
        <p:sp>
          <p:nvSpPr>
            <p:cNvPr id="60" name="Прямоугольник 59"/>
            <p:cNvSpPr/>
            <p:nvPr/>
          </p:nvSpPr>
          <p:spPr>
            <a:xfrm>
              <a:off x="6458024" y="4574228"/>
              <a:ext cx="3546164" cy="51231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600" b="1" dirty="0">
                  <a:ln w="9525">
                    <a:solidFill>
                      <a:schemeClr val="bg1"/>
                    </a:solidFill>
                    <a:prstDash val="solid"/>
                  </a:ln>
                  <a:effectLst>
                    <a:outerShdw blurRad="12700" dist="38100" dir="2700000" algn="tl" rotWithShape="0">
                      <a:schemeClr val="bg1">
                        <a:lumMod val="50000"/>
                      </a:schemeClr>
                    </a:outerShdw>
                  </a:effectLst>
                  <a:latin typeface="Verdana" panose="020B0604030504040204" pitchFamily="34" charset="0"/>
                  <a:ea typeface="Verdana" panose="020B0604030504040204" pitchFamily="34" charset="0"/>
                </a:rPr>
                <a:t>Кто за них должен платить?</a:t>
              </a:r>
            </a:p>
          </p:txBody>
        </p:sp>
        <p:sp>
          <p:nvSpPr>
            <p:cNvPr id="61" name="Прямоугольник 60"/>
            <p:cNvSpPr/>
            <p:nvPr/>
          </p:nvSpPr>
          <p:spPr>
            <a:xfrm>
              <a:off x="6147422" y="5612715"/>
              <a:ext cx="3674403" cy="51231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600" b="1" dirty="0" smtClean="0">
                  <a:ln w="9525">
                    <a:solidFill>
                      <a:schemeClr val="bg1"/>
                    </a:solidFill>
                    <a:prstDash val="solid"/>
                  </a:ln>
                  <a:effectLst>
                    <a:outerShdw blurRad="12700" dist="38100" dir="2700000" algn="tl" rotWithShape="0">
                      <a:schemeClr val="bg1">
                        <a:lumMod val="50000"/>
                      </a:schemeClr>
                    </a:outerShdw>
                  </a:effectLst>
                  <a:latin typeface="Verdana" panose="020B0604030504040204" pitchFamily="34" charset="0"/>
                  <a:ea typeface="Verdana" panose="020B0604030504040204" pitchFamily="34" charset="0"/>
                </a:rPr>
                <a:t>Как их компенсировать РСО?</a:t>
              </a:r>
              <a:endParaRPr lang="ru-RU" sz="1600" b="1" dirty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2" name="Прямоугольник 61"/>
            <p:cNvSpPr/>
            <p:nvPr/>
          </p:nvSpPr>
          <p:spPr>
            <a:xfrm>
              <a:off x="8855461" y="4952634"/>
              <a:ext cx="5569305" cy="97805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600" b="1" dirty="0" smtClean="0">
                  <a:ln w="9525">
                    <a:solidFill>
                      <a:schemeClr val="bg1"/>
                    </a:solidFill>
                    <a:prstDash val="solid"/>
                  </a:ln>
                  <a:effectLst>
                    <a:outerShdw blurRad="12700" dist="38100" dir="2700000" algn="tl" rotWithShape="0">
                      <a:schemeClr val="bg1">
                        <a:lumMod val="50000"/>
                      </a:schemeClr>
                    </a:outerShdw>
                  </a:effectLst>
                  <a:latin typeface="Verdana" panose="020B0604030504040204" pitchFamily="34" charset="0"/>
                  <a:ea typeface="Verdana" panose="020B0604030504040204" pitchFamily="34" charset="0"/>
                </a:rPr>
                <a:t>Являются ли эти потери сверхнормативными</a:t>
              </a:r>
              <a:r>
                <a:rPr lang="ru-RU" sz="2000" b="1" dirty="0" smtClean="0">
                  <a:ln w="9525">
                    <a:solidFill>
                      <a:schemeClr val="bg1"/>
                    </a:solidFill>
                    <a:prstDash val="solid"/>
                  </a:ln>
                  <a:effectLst>
                    <a:outerShdw blurRad="12700" dist="38100" dir="2700000" algn="tl" rotWithShape="0">
                      <a:schemeClr val="bg1">
                        <a:lumMod val="50000"/>
                      </a:schemeClr>
                    </a:outerShdw>
                  </a:effectLst>
                  <a:latin typeface="Verdana" panose="020B0604030504040204" pitchFamily="34" charset="0"/>
                  <a:ea typeface="Verdana" panose="020B0604030504040204" pitchFamily="34" charset="0"/>
                </a:rPr>
                <a:t>?</a:t>
              </a:r>
              <a:endParaRPr lang="ru-RU" sz="2000" b="1" dirty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7" name="Прямоугольник 66"/>
            <p:cNvSpPr/>
            <p:nvPr/>
          </p:nvSpPr>
          <p:spPr>
            <a:xfrm>
              <a:off x="10606535" y="4218915"/>
              <a:ext cx="2031325" cy="51231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600" b="1" dirty="0">
                  <a:ln w="9525">
                    <a:solidFill>
                      <a:schemeClr val="bg1"/>
                    </a:solidFill>
                    <a:prstDash val="solid"/>
                  </a:ln>
                  <a:effectLst>
                    <a:outerShdw blurRad="12700" dist="38100" dir="2700000" algn="tl" rotWithShape="0">
                      <a:schemeClr val="bg1">
                        <a:lumMod val="50000"/>
                      </a:schemeClr>
                    </a:outerShdw>
                  </a:effectLst>
                  <a:latin typeface="Verdana" panose="020B0604030504040204" pitchFamily="34" charset="0"/>
                  <a:ea typeface="Verdana" panose="020B0604030504040204" pitchFamily="34" charset="0"/>
                </a:rPr>
                <a:t>Чьи потери????</a:t>
              </a:r>
            </a:p>
          </p:txBody>
        </p:sp>
      </p:grpSp>
      <p:sp>
        <p:nvSpPr>
          <p:cNvPr id="73" name="Прямоугольник 72"/>
          <p:cNvSpPr/>
          <p:nvPr/>
        </p:nvSpPr>
        <p:spPr>
          <a:xfrm>
            <a:off x="6940960" y="2218985"/>
            <a:ext cx="2310063" cy="580237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2" name="Прямая со стрелкой 11">
            <a:extLst>
              <a:ext uri="{FF2B5EF4-FFF2-40B4-BE49-F238E27FC236}">
                <a16:creationId xmlns:a16="http://schemas.microsoft.com/office/drawing/2014/main" id="{F0E2257B-A4D3-4A4A-BDDC-5D88F45F531E}"/>
              </a:ext>
            </a:extLst>
          </p:cNvPr>
          <p:cNvCxnSpPr>
            <a:cxnSpLocks/>
          </p:cNvCxnSpPr>
          <p:nvPr/>
        </p:nvCxnSpPr>
        <p:spPr>
          <a:xfrm>
            <a:off x="5258985" y="8623347"/>
            <a:ext cx="719" cy="559940"/>
          </a:xfrm>
          <a:prstGeom prst="straightConnector1">
            <a:avLst/>
          </a:prstGeom>
          <a:ln w="38100" cmpd="sng">
            <a:solidFill>
              <a:schemeClr val="bg2">
                <a:lumMod val="1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/>
          <p:cNvCxnSpPr/>
          <p:nvPr/>
        </p:nvCxnSpPr>
        <p:spPr>
          <a:xfrm flipH="1" flipV="1">
            <a:off x="3479497" y="3406583"/>
            <a:ext cx="54133" cy="5423061"/>
          </a:xfrm>
          <a:prstGeom prst="line">
            <a:avLst/>
          </a:prstGeom>
          <a:ln w="28575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>
          <a:xfrm>
            <a:off x="5839881" y="6458714"/>
            <a:ext cx="9900880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Aft>
                <a:spcPts val="1200"/>
              </a:spcAft>
            </a:pPr>
            <a:r>
              <a:rPr lang="ru-RU" sz="1800" b="1" dirty="0">
                <a:solidFill>
                  <a:srgbClr val="42B46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Как должно быть. </a:t>
            </a:r>
            <a:r>
              <a:rPr lang="ru-RU" sz="1800" b="1" u="sng" dirty="0">
                <a:solidFill>
                  <a:srgbClr val="42B46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Баланс по МКД </a:t>
            </a:r>
            <a:endParaRPr lang="ru-RU" sz="1800" b="1" u="sng" dirty="0" smtClean="0">
              <a:solidFill>
                <a:srgbClr val="42B468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>
              <a:spcAft>
                <a:spcPts val="1200"/>
              </a:spcAft>
            </a:pPr>
            <a:r>
              <a:rPr lang="ru-RU" sz="1800" b="1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есурс </a:t>
            </a:r>
            <a:r>
              <a:rPr lang="ru-RU" sz="18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в точке поставки = Сумма индивидуального потребления + </a:t>
            </a:r>
            <a:r>
              <a:rPr lang="ru-RU" sz="1800" b="1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ДН</a:t>
            </a:r>
            <a:endParaRPr lang="ru-RU" sz="1800" b="1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5852832" y="7230142"/>
            <a:ext cx="8534400" cy="2339102"/>
          </a:xfrm>
          <a:prstGeom prst="rect">
            <a:avLst/>
          </a:prstGeom>
        </p:spPr>
        <p:txBody>
          <a:bodyPr>
            <a:spAutoFit/>
          </a:bodyPr>
          <a:lstStyle/>
          <a:p>
            <a:pPr lvl="0">
              <a:spcAft>
                <a:spcPts val="600"/>
              </a:spcAft>
            </a:pPr>
            <a:r>
              <a:rPr lang="ru-RU" sz="14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есурс в точке поставки первичен, именно его необходимо учитывать прямым способом, а не косвенным:</a:t>
            </a:r>
          </a:p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есть ОПУ, согласно данным ОПУ — исполняется 261-ФЗ!</a:t>
            </a:r>
          </a:p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ет ОПУ, расчетным стимулирующим методом (расчет по аналогичным объектам с повышающим коэффициентом, предельные проектные параметры и пр.) — исполняется 261-ФЗ!</a:t>
            </a:r>
          </a:p>
          <a:p>
            <a:pPr lvl="0">
              <a:spcAft>
                <a:spcPts val="600"/>
              </a:spcAft>
            </a:pPr>
            <a:r>
              <a:rPr lang="ru-RU" sz="14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. Определяется индивидуальное потребление по ИПУ или по нормативам.</a:t>
            </a:r>
          </a:p>
          <a:p>
            <a:pPr lvl="0">
              <a:spcAft>
                <a:spcPts val="600"/>
              </a:spcAft>
            </a:pPr>
            <a:r>
              <a:rPr lang="ru-RU" sz="14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3. ОДН определяется как небаланс, и распределяется между собственниками пропорционально.</a:t>
            </a:r>
          </a:p>
        </p:txBody>
      </p:sp>
    </p:spTree>
    <p:extLst>
      <p:ext uri="{BB962C8B-B14F-4D97-AF65-F5344CB8AC3E}">
        <p14:creationId xmlns:p14="http://schemas.microsoft.com/office/powerpoint/2010/main" val="403313422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3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6" grpId="0" animBg="1"/>
      <p:bldP spid="55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Скругленный прямоугольник 14"/>
          <p:cNvSpPr/>
          <p:nvPr/>
        </p:nvSpPr>
        <p:spPr>
          <a:xfrm>
            <a:off x="8903930" y="2199999"/>
            <a:ext cx="7892815" cy="4164705"/>
          </a:xfrm>
          <a:prstGeom prst="roundRect">
            <a:avLst/>
          </a:prstGeom>
          <a:solidFill>
            <a:srgbClr val="00B050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717785" y="2200000"/>
            <a:ext cx="7771463" cy="4164705"/>
          </a:xfrm>
          <a:prstGeom prst="roundRect">
            <a:avLst/>
          </a:prstGeom>
          <a:solidFill>
            <a:srgbClr val="00B050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18DD483E-60FD-493F-8F08-A2A91EF7CD6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16199" y="314174"/>
            <a:ext cx="2080546" cy="750848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785" y="314174"/>
            <a:ext cx="914400" cy="914400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717784" y="6743853"/>
            <a:ext cx="1587688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Цель системы - надежное безопасное теплоснабжение при балансе экономических интересов всех участников</a:t>
            </a:r>
          </a:p>
          <a:p>
            <a:endParaRPr lang="ru-RU" sz="2400" dirty="0" smtClean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ru-RU" sz="24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Как этого достичь ? </a:t>
            </a:r>
            <a:r>
              <a:rPr lang="ru-RU" sz="2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2400" b="1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Обеспечить приборный учет не менее 75 </a:t>
            </a:r>
            <a:r>
              <a:rPr lang="ru-RU" sz="24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роцентов фактического объема </a:t>
            </a:r>
            <a:r>
              <a:rPr lang="ru-RU" sz="2400" b="1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отпуска!</a:t>
            </a:r>
            <a:r>
              <a:rPr lang="ru-RU" sz="24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/>
            </a:r>
            <a:br>
              <a:rPr lang="ru-RU" sz="24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en-US" sz="2400" dirty="0" smtClean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1" name="Заголовок 2"/>
          <p:cNvSpPr txBox="1">
            <a:spLocks/>
          </p:cNvSpPr>
          <p:nvPr/>
        </p:nvSpPr>
        <p:spPr>
          <a:xfrm>
            <a:off x="1805932" y="710361"/>
            <a:ext cx="15605688" cy="44027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80128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92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</a:pPr>
            <a:r>
              <a:rPr lang="ru-RU" sz="2800" dirty="0">
                <a:solidFill>
                  <a:srgbClr val="00B05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ЕДЛОЖЕНИЯ</a:t>
            </a:r>
            <a:r>
              <a:rPr lang="ru-RU" sz="24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endParaRPr lang="ru-RU" sz="2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056001" y="2199999"/>
            <a:ext cx="282897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Федеральный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уровень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1562849" y="2216033"/>
            <a:ext cx="282897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егиональный уровень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975471" y="2669139"/>
            <a:ext cx="7276287" cy="34624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5113" indent="-180975">
              <a:spcAft>
                <a:spcPts val="600"/>
              </a:spcAft>
              <a:tabLst>
                <a:tab pos="265113" algn="l"/>
                <a:tab pos="444500" algn="l"/>
              </a:tabLst>
            </a:pPr>
            <a:r>
              <a:rPr lang="ru-RU" sz="1800" b="1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Законодательная инициатива «</a:t>
            </a:r>
            <a:r>
              <a:rPr lang="ru-RU" sz="1800" b="1" dirty="0" smtClean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тотального»</a:t>
            </a:r>
            <a:r>
              <a:rPr lang="en-US" sz="1800" b="1" dirty="0" smtClean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ru-RU" sz="1800" b="1" dirty="0" err="1" smtClean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оприборивания</a:t>
            </a:r>
            <a:endParaRPr lang="ru-RU" sz="1800" b="1" dirty="0"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endParaRPr>
          </a:p>
          <a:p>
            <a:pPr marL="265113" indent="-180975">
              <a:spcAft>
                <a:spcPts val="600"/>
              </a:spcAft>
              <a:tabLst>
                <a:tab pos="265113" algn="l"/>
                <a:tab pos="444500" algn="l"/>
              </a:tabLst>
            </a:pPr>
            <a:r>
              <a:rPr lang="en-US" sz="1800" dirty="0" smtClean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1) </a:t>
            </a:r>
            <a:r>
              <a:rPr lang="ru-RU" sz="1800" b="1" dirty="0" smtClean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Сделать  </a:t>
            </a:r>
            <a:r>
              <a:rPr lang="ru-RU" sz="1800" b="1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расчётный способ стимулирующим</a:t>
            </a:r>
          </a:p>
          <a:p>
            <a:pPr marL="265113" lvl="0" indent="-180975">
              <a:spcAft>
                <a:spcPts val="600"/>
              </a:spcAft>
              <a:tabLst>
                <a:tab pos="265113" algn="l"/>
                <a:tab pos="444500" algn="l"/>
              </a:tabLst>
            </a:pPr>
            <a:r>
              <a:rPr lang="en-US" sz="1800" dirty="0" smtClean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- </a:t>
            </a:r>
            <a:r>
              <a:rPr lang="ru-RU" sz="1800" dirty="0" smtClean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Исключить </a:t>
            </a:r>
            <a:r>
              <a:rPr lang="ru-RU" sz="1800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метод аналогов, как противоречащий </a:t>
            </a:r>
            <a:r>
              <a:rPr lang="ru-RU" sz="1800" dirty="0" smtClean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законодательству</a:t>
            </a:r>
            <a:r>
              <a:rPr lang="en-US" sz="1800" dirty="0" smtClean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ru-RU" sz="1800" dirty="0" smtClean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об </a:t>
            </a:r>
            <a:r>
              <a:rPr lang="ru-RU" sz="1800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энергосбережении.</a:t>
            </a:r>
          </a:p>
          <a:p>
            <a:pPr marL="265113" lvl="0" indent="-180975">
              <a:spcAft>
                <a:spcPts val="600"/>
              </a:spcAft>
              <a:tabLst>
                <a:tab pos="265113" algn="l"/>
                <a:tab pos="444500" algn="l"/>
              </a:tabLst>
            </a:pPr>
            <a:r>
              <a:rPr lang="en-US" sz="1800" dirty="0" smtClean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- </a:t>
            </a:r>
            <a:r>
              <a:rPr lang="ru-RU" sz="1800" dirty="0" smtClean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Ввести </a:t>
            </a:r>
            <a:r>
              <a:rPr lang="ru-RU" sz="1800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повышающие коэффициенты на отопление, как меру стимулирующую </a:t>
            </a:r>
            <a:r>
              <a:rPr lang="ru-RU" sz="1800" dirty="0" smtClean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к </a:t>
            </a:r>
            <a:r>
              <a:rPr lang="ru-RU" sz="1800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установке приборов учёта.</a:t>
            </a:r>
          </a:p>
          <a:p>
            <a:pPr marL="84138" lvl="0">
              <a:spcAft>
                <a:spcPts val="600"/>
              </a:spcAft>
              <a:tabLst>
                <a:tab pos="265113" algn="l"/>
                <a:tab pos="444500" algn="l"/>
              </a:tabLst>
            </a:pPr>
            <a:r>
              <a:rPr lang="ru-RU" sz="1800" dirty="0" smtClean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- Вне </a:t>
            </a:r>
            <a:r>
              <a:rPr lang="ru-RU" sz="1800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зависимости от периода (отопительный/</a:t>
            </a:r>
            <a:r>
              <a:rPr lang="ru-RU" sz="1800" dirty="0" err="1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межотопительный</a:t>
            </a:r>
            <a:r>
              <a:rPr lang="ru-RU" sz="1800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) </a:t>
            </a:r>
            <a:r>
              <a:rPr lang="ru-RU" sz="1800" dirty="0" smtClean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при</a:t>
            </a:r>
            <a:r>
              <a:rPr lang="en-US" sz="1800" dirty="0" smtClean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ru-RU" sz="1800" dirty="0" smtClean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расчете размера </a:t>
            </a:r>
            <a:r>
              <a:rPr lang="ru-RU" sz="1800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платы за коммунальные услуги применять </a:t>
            </a:r>
            <a:r>
              <a:rPr lang="ru-RU" sz="1800" dirty="0" smtClean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только</a:t>
            </a:r>
            <a:r>
              <a:rPr lang="en-US" sz="1800" dirty="0" smtClean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ru-RU" sz="1800" dirty="0" smtClean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показания ОДПУ.</a:t>
            </a:r>
            <a:endParaRPr lang="ru-RU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en-US" sz="1800" dirty="0" smtClean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) </a:t>
            </a:r>
            <a:r>
              <a:rPr lang="ru-RU" sz="1800" b="1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Повысить ответственность перед УК за </a:t>
            </a:r>
            <a:r>
              <a:rPr lang="ru-RU" sz="1800" b="1" dirty="0" err="1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неустановку</a:t>
            </a:r>
            <a:r>
              <a:rPr lang="ru-RU" sz="1800" b="1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 ПУ</a:t>
            </a:r>
          </a:p>
          <a:p>
            <a:pPr marL="84138" lvl="0">
              <a:spcAft>
                <a:spcPts val="600"/>
              </a:spcAft>
              <a:tabLst>
                <a:tab pos="265113" algn="l"/>
                <a:tab pos="444500" algn="l"/>
              </a:tabLst>
            </a:pPr>
            <a:endParaRPr lang="en-US" sz="14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9454789" y="2669139"/>
            <a:ext cx="6927274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800" b="1" dirty="0" smtClean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1) </a:t>
            </a:r>
            <a:r>
              <a:rPr lang="ru-RU" sz="1800" b="1" dirty="0" smtClean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ГЖИ  </a:t>
            </a:r>
            <a:r>
              <a:rPr lang="ru-RU" sz="1800" b="1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и Администрации г. Челябинска провести работу с УК, с целью максимального </a:t>
            </a:r>
            <a:r>
              <a:rPr lang="ru-RU" sz="1800" b="1" dirty="0" err="1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оприборивания</a:t>
            </a:r>
            <a:endParaRPr lang="ru-RU" sz="1800" b="1" dirty="0"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endParaRPr>
          </a:p>
          <a:p>
            <a:pPr lvl="0"/>
            <a:endParaRPr lang="ru-RU" sz="1800" dirty="0"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endParaRPr>
          </a:p>
          <a:p>
            <a:pPr lvl="0"/>
            <a:r>
              <a:rPr lang="en-US" sz="1800" b="1" dirty="0" smtClean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2) </a:t>
            </a:r>
            <a:r>
              <a:rPr lang="ru-RU" sz="1800" b="1" dirty="0" smtClean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Усилить </a:t>
            </a:r>
            <a:r>
              <a:rPr lang="ru-RU" sz="1800" b="1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контроль за УК в части установки и содержания ПУ в надлежащем </a:t>
            </a:r>
            <a:r>
              <a:rPr lang="ru-RU" sz="1800" b="1" dirty="0" smtClean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состоянии</a:t>
            </a:r>
          </a:p>
          <a:p>
            <a:pPr lvl="0"/>
            <a:endParaRPr lang="ru-RU" sz="1800" b="1" dirty="0"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endParaRPr>
          </a:p>
          <a:p>
            <a:pPr lvl="0"/>
            <a:r>
              <a:rPr lang="ru-RU" sz="1800" b="1" dirty="0" smtClean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3) Обязательная </a:t>
            </a:r>
            <a:r>
              <a:rPr lang="ru-RU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становка ПУ в рамках капитального ремонта</a:t>
            </a:r>
            <a:endParaRPr lang="en-US" sz="1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Включить установку ОДПУ в обязательный перечень работ, финансируемых за счёт фонда капитального ремонта</a:t>
            </a:r>
          </a:p>
          <a:p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Распространить требования по установке ПУ на дома, подлежащие капремонту, за исключением домов с запланированными мероприятиями в течение 3 </a:t>
            </a: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лет</a:t>
            </a:r>
            <a:endParaRPr lang="ru-RU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944494" y="1472987"/>
            <a:ext cx="158522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еобходимо исполнить требования ФЗ-261</a:t>
            </a:r>
            <a:r>
              <a:rPr lang="en-US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!</a:t>
            </a:r>
            <a:endParaRPr lang="ru-RU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0458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25" t="7281" b="32065"/>
          <a:stretch>
            <a:fillRect/>
          </a:stretch>
        </p:blipFill>
        <p:spPr bwMode="auto">
          <a:xfrm>
            <a:off x="0" y="-33690"/>
            <a:ext cx="12273280" cy="9634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4" name="Заголовок 2"/>
          <p:cNvSpPr txBox="1">
            <a:spLocks/>
          </p:cNvSpPr>
          <p:nvPr/>
        </p:nvSpPr>
        <p:spPr>
          <a:xfrm>
            <a:off x="4119096" y="4178224"/>
            <a:ext cx="6250429" cy="44027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80128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92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</a:pPr>
            <a:r>
              <a:rPr lang="ru-RU" sz="40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ДОПОЛНИТЕЛЬНЫЕ МАТЕРИАЛЫ </a:t>
            </a:r>
            <a:endParaRPr lang="ru-RU" sz="40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18DD483E-60FD-493F-8F08-A2A91EF7CD6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16199" y="314174"/>
            <a:ext cx="2080546" cy="750848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891"/>
          <a:stretch/>
        </p:blipFill>
        <p:spPr>
          <a:xfrm>
            <a:off x="-104661" y="1891723"/>
            <a:ext cx="4094411" cy="7709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5599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Рисунок 37">
            <a:extLst>
              <a:ext uri="{FF2B5EF4-FFF2-40B4-BE49-F238E27FC236}">
                <a16:creationId xmlns:a16="http://schemas.microsoft.com/office/drawing/2014/main" id="{18DD483E-60FD-493F-8F08-A2A91EF7CD6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16199" y="314174"/>
            <a:ext cx="2080546" cy="750848"/>
          </a:xfrm>
          <a:prstGeom prst="rect">
            <a:avLst/>
          </a:prstGeom>
        </p:spPr>
      </p:pic>
      <p:grpSp>
        <p:nvGrpSpPr>
          <p:cNvPr id="8" name="Группа 7"/>
          <p:cNvGrpSpPr/>
          <p:nvPr/>
        </p:nvGrpSpPr>
        <p:grpSpPr>
          <a:xfrm>
            <a:off x="1742831" y="635007"/>
            <a:ext cx="5217527" cy="8873824"/>
            <a:chOff x="828431" y="641444"/>
            <a:chExt cx="5217527" cy="8873824"/>
          </a:xfrm>
        </p:grpSpPr>
        <p:pic>
          <p:nvPicPr>
            <p:cNvPr id="3" name="Рисунок 2"/>
            <p:cNvPicPr>
              <a:picLocks noChangeAspect="1"/>
            </p:cNvPicPr>
            <p:nvPr/>
          </p:nvPicPr>
          <p:blipFill rotWithShape="1">
            <a:blip r:embed="rId3"/>
            <a:srcRect l="24826" t="18723" r="45100" b="6716"/>
            <a:stretch/>
          </p:blipFill>
          <p:spPr>
            <a:xfrm>
              <a:off x="828432" y="641444"/>
              <a:ext cx="5217526" cy="7014950"/>
            </a:xfrm>
            <a:prstGeom prst="rect">
              <a:avLst/>
            </a:prstGeom>
          </p:spPr>
        </p:pic>
        <p:pic>
          <p:nvPicPr>
            <p:cNvPr id="5" name="Рисунок 4"/>
            <p:cNvPicPr>
              <a:picLocks noChangeAspect="1"/>
            </p:cNvPicPr>
            <p:nvPr/>
          </p:nvPicPr>
          <p:blipFill rotWithShape="1">
            <a:blip r:embed="rId4"/>
            <a:srcRect l="27064" t="21775" r="45846" b="58192"/>
            <a:stretch/>
          </p:blipFill>
          <p:spPr>
            <a:xfrm>
              <a:off x="828431" y="7656394"/>
              <a:ext cx="5081049" cy="1858874"/>
            </a:xfrm>
            <a:prstGeom prst="rect">
              <a:avLst/>
            </a:prstGeom>
          </p:spPr>
        </p:pic>
      </p:grpSp>
      <p:sp>
        <p:nvSpPr>
          <p:cNvPr id="6" name="Прямоугольник 5"/>
          <p:cNvSpPr/>
          <p:nvPr/>
        </p:nvSpPr>
        <p:spPr>
          <a:xfrm>
            <a:off x="316641" y="111787"/>
            <a:ext cx="592312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 smtClean="0">
                <a:solidFill>
                  <a:srgbClr val="00B050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Обращения в ФАС </a:t>
            </a:r>
            <a:r>
              <a:rPr lang="ru-RU" sz="2800" b="1" dirty="0">
                <a:solidFill>
                  <a:srgbClr val="00B050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России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5"/>
          <a:srcRect l="23856" t="14211" r="45920" b="4329"/>
          <a:stretch/>
        </p:blipFill>
        <p:spPr>
          <a:xfrm>
            <a:off x="8256726" y="373397"/>
            <a:ext cx="6141493" cy="8781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716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Рисунок 37">
            <a:extLst>
              <a:ext uri="{FF2B5EF4-FFF2-40B4-BE49-F238E27FC236}">
                <a16:creationId xmlns:a16="http://schemas.microsoft.com/office/drawing/2014/main" id="{18DD483E-60FD-493F-8F08-A2A91EF7CD6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16199" y="314174"/>
            <a:ext cx="2080546" cy="750848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316640" y="111787"/>
            <a:ext cx="746258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 smtClean="0">
                <a:solidFill>
                  <a:srgbClr val="00B050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Обращения в Минстрой России</a:t>
            </a:r>
            <a:endParaRPr lang="ru-RU" sz="2800" b="1" dirty="0">
              <a:solidFill>
                <a:srgbClr val="00B050"/>
              </a:solidFill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3"/>
          <a:srcRect l="34229" t="8438" r="33309" b="12289"/>
          <a:stretch/>
        </p:blipFill>
        <p:spPr>
          <a:xfrm>
            <a:off x="425823" y="1269242"/>
            <a:ext cx="5442714" cy="7476262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4"/>
          <a:srcRect l="62214" t="19518" r="10249" b="8442"/>
          <a:stretch/>
        </p:blipFill>
        <p:spPr>
          <a:xfrm>
            <a:off x="5427224" y="1269242"/>
            <a:ext cx="5354507" cy="7879398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5"/>
          <a:srcRect l="25274" t="18989" r="44950" b="4461"/>
          <a:stretch/>
        </p:blipFill>
        <p:spPr>
          <a:xfrm>
            <a:off x="11163870" y="952951"/>
            <a:ext cx="5131558" cy="7420824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6"/>
          <a:srcRect l="26642" t="22173" r="45799" b="60049"/>
          <a:stretch/>
        </p:blipFill>
        <p:spPr>
          <a:xfrm>
            <a:off x="11477767" y="7733518"/>
            <a:ext cx="4612943" cy="1673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237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Прямоугольник 59"/>
          <p:cNvSpPr/>
          <p:nvPr/>
        </p:nvSpPr>
        <p:spPr>
          <a:xfrm>
            <a:off x="11046586" y="8127115"/>
            <a:ext cx="3859442" cy="4571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5" name="Прямоугольник 64"/>
          <p:cNvSpPr/>
          <p:nvPr/>
        </p:nvSpPr>
        <p:spPr>
          <a:xfrm>
            <a:off x="14856912" y="8558621"/>
            <a:ext cx="960707" cy="4571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3" name="Прямоугольник 62"/>
          <p:cNvSpPr/>
          <p:nvPr/>
        </p:nvSpPr>
        <p:spPr>
          <a:xfrm>
            <a:off x="14856913" y="7742344"/>
            <a:ext cx="533073" cy="53663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292510" y="8963072"/>
            <a:ext cx="403769" cy="352925"/>
          </a:xfrm>
        </p:spPr>
        <p:txBody>
          <a:bodyPr/>
          <a:lstStyle/>
          <a:p>
            <a:fld id="{F90E5A77-D385-4CDE-8FE8-D3E3CBE93E71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26" name="Прямоугольник 25"/>
          <p:cNvSpPr/>
          <p:nvPr/>
        </p:nvSpPr>
        <p:spPr>
          <a:xfrm>
            <a:off x="11046586" y="8016224"/>
            <a:ext cx="3691325" cy="4571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7" name="Рисунок 2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2317" y="6449915"/>
            <a:ext cx="2072470" cy="2108706"/>
          </a:xfrm>
          <a:prstGeom prst="rect">
            <a:avLst/>
          </a:prstGeom>
        </p:spPr>
      </p:pic>
      <p:sp>
        <p:nvSpPr>
          <p:cNvPr id="29" name="Прямоугольник 28"/>
          <p:cNvSpPr/>
          <p:nvPr/>
        </p:nvSpPr>
        <p:spPr>
          <a:xfrm rot="5400000">
            <a:off x="14170736" y="8187485"/>
            <a:ext cx="1088631" cy="4571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Прямоугольник 29"/>
          <p:cNvSpPr/>
          <p:nvPr/>
        </p:nvSpPr>
        <p:spPr>
          <a:xfrm>
            <a:off x="14697273" y="7635534"/>
            <a:ext cx="692713" cy="50573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Прямоугольник 30"/>
          <p:cNvSpPr/>
          <p:nvPr/>
        </p:nvSpPr>
        <p:spPr>
          <a:xfrm>
            <a:off x="14692192" y="8282734"/>
            <a:ext cx="373935" cy="4571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2" name="Рисунок 31" descr="6.png"/>
          <p:cNvPicPr>
            <a:picLocks noChangeAspect="1"/>
          </p:cNvPicPr>
          <p:nvPr/>
        </p:nvPicPr>
        <p:blipFill>
          <a:blip r:embed="rId4" cstate="print"/>
          <a:srcRect l="5212" r="4363"/>
          <a:stretch>
            <a:fillRect/>
          </a:stretch>
        </p:blipFill>
        <p:spPr>
          <a:xfrm>
            <a:off x="14988470" y="7832871"/>
            <a:ext cx="665630" cy="736120"/>
          </a:xfrm>
          <a:prstGeom prst="rect">
            <a:avLst/>
          </a:prstGeom>
        </p:spPr>
      </p:pic>
      <p:sp>
        <p:nvSpPr>
          <p:cNvPr id="33" name="Прямоугольник 32"/>
          <p:cNvSpPr/>
          <p:nvPr/>
        </p:nvSpPr>
        <p:spPr>
          <a:xfrm>
            <a:off x="14706568" y="8745523"/>
            <a:ext cx="1047484" cy="4571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" name="Заголовок 2"/>
          <p:cNvSpPr txBox="1">
            <a:spLocks/>
          </p:cNvSpPr>
          <p:nvPr/>
        </p:nvSpPr>
        <p:spPr>
          <a:xfrm>
            <a:off x="1844263" y="952246"/>
            <a:ext cx="12284231" cy="44027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80128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92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</a:pPr>
            <a:r>
              <a:rPr lang="ru-RU" sz="3200" dirty="0" smtClean="0">
                <a:solidFill>
                  <a:srgbClr val="00B05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СИСТЕМА</a:t>
            </a:r>
            <a:endParaRPr lang="ru-RU" sz="1800" dirty="0">
              <a:solidFill>
                <a:srgbClr val="00B05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52" name="Рисунок 5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33585" y="6862209"/>
            <a:ext cx="1004757" cy="969590"/>
          </a:xfrm>
          <a:prstGeom prst="rect">
            <a:avLst/>
          </a:prstGeom>
        </p:spPr>
      </p:pic>
      <p:pic>
        <p:nvPicPr>
          <p:cNvPr id="54" name="Рисунок 5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72215" y="8229787"/>
            <a:ext cx="795251" cy="795251"/>
          </a:xfrm>
          <a:prstGeom prst="rect">
            <a:avLst/>
          </a:prstGeom>
        </p:spPr>
      </p:pic>
      <p:sp>
        <p:nvSpPr>
          <p:cNvPr id="56" name="TextBox 55">
            <a:extLst>
              <a:ext uri="{FF2B5EF4-FFF2-40B4-BE49-F238E27FC236}">
                <a16:creationId xmlns:a16="http://schemas.microsoft.com/office/drawing/2014/main" id="{D1DA911E-2543-4267-9A53-323CBA92A296}"/>
              </a:ext>
            </a:extLst>
          </p:cNvPr>
          <p:cNvSpPr txBox="1"/>
          <p:nvPr/>
        </p:nvSpPr>
        <p:spPr>
          <a:xfrm>
            <a:off x="11987052" y="7437446"/>
            <a:ext cx="22018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latin typeface="Verdana" panose="020B0604030504040204" pitchFamily="34" charset="0"/>
                <a:ea typeface="Verdana" panose="020B0604030504040204" pitchFamily="34" charset="0"/>
              </a:rPr>
              <a:t>Теплоснабжающая организация</a:t>
            </a:r>
            <a:endParaRPr lang="ru-RU" sz="14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8DF64A74-D433-4DF8-A59D-C52A386DD803}"/>
              </a:ext>
            </a:extLst>
          </p:cNvPr>
          <p:cNvSpPr txBox="1"/>
          <p:nvPr/>
        </p:nvSpPr>
        <p:spPr>
          <a:xfrm>
            <a:off x="9623433" y="8524265"/>
            <a:ext cx="160095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b="1" dirty="0">
                <a:latin typeface="Verdana" panose="020B0604030504040204" pitchFamily="34" charset="0"/>
                <a:ea typeface="Verdana" panose="020B0604030504040204" pitchFamily="34" charset="0"/>
              </a:rPr>
              <a:t>Источник</a:t>
            </a:r>
            <a:endParaRPr lang="ru-RU" sz="800" b="1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ru-RU" sz="8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14778780" y="9008220"/>
            <a:ext cx="258212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latin typeface="Verdana" panose="020B0604030504040204" pitchFamily="34" charset="0"/>
                <a:ea typeface="Verdana" panose="020B0604030504040204" pitchFamily="34" charset="0"/>
              </a:rPr>
              <a:t>Потребители</a:t>
            </a:r>
            <a:endParaRPr lang="ru-RU" sz="14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59" name="Рисунок 5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749" y="505087"/>
            <a:ext cx="914400" cy="914400"/>
          </a:xfrm>
          <a:prstGeom prst="rect">
            <a:avLst/>
          </a:prstGeom>
        </p:spPr>
      </p:pic>
      <p:sp>
        <p:nvSpPr>
          <p:cNvPr id="62" name="Прямоугольник 61"/>
          <p:cNvSpPr/>
          <p:nvPr/>
        </p:nvSpPr>
        <p:spPr>
          <a:xfrm rot="5400000">
            <a:off x="14474972" y="8163711"/>
            <a:ext cx="812996" cy="49114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4" name="Прямоугольник 63"/>
          <p:cNvSpPr/>
          <p:nvPr/>
        </p:nvSpPr>
        <p:spPr>
          <a:xfrm>
            <a:off x="14879159" y="8403002"/>
            <a:ext cx="270499" cy="4571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893224" y="1523121"/>
            <a:ext cx="1546593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/>
              <a:t>Система — это структура, где участники взаимодействуют по установленным правилам для достижения общих целей.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803749" y="1967662"/>
            <a:ext cx="13284898" cy="4181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/>
              <a:t>Основополагающие принципы системы на примере супермаркета</a:t>
            </a:r>
            <a:endParaRPr lang="ru-RU" b="1" dirty="0"/>
          </a:p>
        </p:txBody>
      </p:sp>
      <p:sp>
        <p:nvSpPr>
          <p:cNvPr id="40" name="Заголовок 2"/>
          <p:cNvSpPr txBox="1">
            <a:spLocks/>
          </p:cNvSpPr>
          <p:nvPr/>
        </p:nvSpPr>
        <p:spPr>
          <a:xfrm>
            <a:off x="803749" y="6212966"/>
            <a:ext cx="12284231" cy="44027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80128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92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</a:pPr>
            <a:r>
              <a:rPr lang="ru-RU" sz="3200" dirty="0" smtClean="0">
                <a:solidFill>
                  <a:srgbClr val="00B05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Система теплоснабжения</a:t>
            </a:r>
            <a:endParaRPr lang="ru-RU" sz="1800" dirty="0">
              <a:solidFill>
                <a:srgbClr val="00B05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41" name="Рисунок 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88720" y="432118"/>
            <a:ext cx="2726372" cy="9856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803749" y="2356862"/>
            <a:ext cx="8534400" cy="83099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600" b="1" dirty="0" smtClean="0"/>
              <a:t>Несколько участников</a:t>
            </a:r>
          </a:p>
          <a:p>
            <a:r>
              <a:rPr lang="ru-RU" sz="1600" dirty="0" smtClean="0"/>
              <a:t>Покупатели, кассиры, работники торгового зала, менеджеры, поставщики — каждый со своей ролью в обеспечении бесперебойной работы магазина.</a:t>
            </a:r>
            <a:endParaRPr lang="ru-RU" sz="16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803749" y="3145236"/>
            <a:ext cx="8534400" cy="83099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600" b="1" dirty="0" smtClean="0"/>
              <a:t>В процессе им выгодно</a:t>
            </a:r>
          </a:p>
          <a:p>
            <a:r>
              <a:rPr lang="ru-RU" sz="1600" dirty="0" smtClean="0"/>
              <a:t>Покупатели получают необходимые продукты; сотрудники — зарплату; поставщики — реализацию товаров; а магазин — прибыль.</a:t>
            </a:r>
            <a:endParaRPr lang="ru-RU" sz="1600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803749" y="4002132"/>
            <a:ext cx="8534400" cy="83099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600" b="1" dirty="0" smtClean="0"/>
              <a:t>Общий процесс</a:t>
            </a:r>
            <a:r>
              <a:rPr lang="ru-RU" sz="1600" dirty="0" smtClean="0"/>
              <a:t/>
            </a:r>
            <a:br>
              <a:rPr lang="ru-RU" sz="1600" dirty="0" smtClean="0"/>
            </a:br>
            <a:r>
              <a:rPr lang="ru-RU" sz="1600" dirty="0" err="1" smtClean="0"/>
              <a:t>Процесс</a:t>
            </a:r>
            <a:r>
              <a:rPr lang="ru-RU" sz="1600" dirty="0" smtClean="0"/>
              <a:t> </a:t>
            </a:r>
            <a:r>
              <a:rPr lang="ru-RU" sz="1600" dirty="0"/>
              <a:t>покупок, где клиенты выбирают товары, оплачивают их на кассе, персонал пополняет полки, обеспечивая непрерывный поток товаров и денег.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803749" y="4859028"/>
            <a:ext cx="8534400" cy="83099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600" b="1" dirty="0" smtClean="0"/>
              <a:t>Общие правила</a:t>
            </a:r>
          </a:p>
          <a:p>
            <a:r>
              <a:rPr lang="ru-RU" sz="1600" dirty="0" smtClean="0"/>
              <a:t>Правила </a:t>
            </a:r>
            <a:r>
              <a:rPr lang="ru-RU" sz="1600" dirty="0"/>
              <a:t>магазина, ценовая политика, часы работы, способы оплаты и стандарты безопасности, обязательные для всех участников.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700590" y="2472992"/>
            <a:ext cx="7100160" cy="1328787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142185" y="3818875"/>
            <a:ext cx="6216970" cy="1949550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10479391" y="5664320"/>
            <a:ext cx="14243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 smtClean="0"/>
              <a:t>Поставка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11913346" y="5673049"/>
            <a:ext cx="1424348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1600" dirty="0" smtClean="0"/>
              <a:t>Выкладка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13376473" y="5673362"/>
            <a:ext cx="142434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 smtClean="0"/>
              <a:t>Выбор товара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14839600" y="5678386"/>
            <a:ext cx="14243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 smtClean="0"/>
              <a:t>Оплата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788282" y="6867669"/>
            <a:ext cx="7921770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/>
              <a:t>Участники</a:t>
            </a:r>
            <a:r>
              <a:rPr lang="ru-RU" sz="1600" dirty="0" smtClean="0"/>
              <a:t>: Источники тепловой энергии, теплоснабжающая организация, потребители</a:t>
            </a:r>
          </a:p>
          <a:p>
            <a:r>
              <a:rPr lang="ru-RU" sz="1600" b="1" dirty="0" smtClean="0"/>
              <a:t>Цель</a:t>
            </a:r>
            <a:r>
              <a:rPr lang="ru-RU" sz="1600" dirty="0" smtClean="0"/>
              <a:t> – Надежное безопасное теплоснабжение, </a:t>
            </a:r>
            <a:r>
              <a:rPr lang="ru-RU" sz="1600" dirty="0"/>
              <a:t>при балансе </a:t>
            </a:r>
            <a:r>
              <a:rPr lang="ru-RU" sz="1600" dirty="0" smtClean="0"/>
              <a:t>экономических интересов всех участников</a:t>
            </a:r>
          </a:p>
          <a:p>
            <a:r>
              <a:rPr lang="ru-RU" sz="1600" b="1" dirty="0" smtClean="0"/>
              <a:t>Выгода</a:t>
            </a:r>
            <a:r>
              <a:rPr lang="ru-RU" sz="1600" dirty="0" smtClean="0"/>
              <a:t>: Потребителям – тепловая энергия для отопления и ГВС, Источнику – сбыт произведенной тепловой энергии, Теплоснабжающей организации – оплата за транспортировку тепловой энергии</a:t>
            </a:r>
          </a:p>
          <a:p>
            <a:r>
              <a:rPr lang="ru-RU" sz="1600" b="1" dirty="0" smtClean="0"/>
              <a:t>Общие правила</a:t>
            </a:r>
            <a:r>
              <a:rPr lang="ru-RU" sz="1600" dirty="0" smtClean="0"/>
              <a:t> – Федеральные законы, Технические регламенты</a:t>
            </a:r>
          </a:p>
        </p:txBody>
      </p:sp>
    </p:spTree>
    <p:extLst>
      <p:ext uri="{BB962C8B-B14F-4D97-AF65-F5344CB8AC3E}">
        <p14:creationId xmlns:p14="http://schemas.microsoft.com/office/powerpoint/2010/main" val="3598855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оугольник 15"/>
          <p:cNvSpPr/>
          <p:nvPr/>
        </p:nvSpPr>
        <p:spPr>
          <a:xfrm>
            <a:off x="-1" y="8658931"/>
            <a:ext cx="17063701" cy="964392"/>
          </a:xfrm>
          <a:prstGeom prst="rect">
            <a:avLst/>
          </a:prstGeom>
          <a:solidFill>
            <a:srgbClr val="785E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Заголовок 2"/>
          <p:cNvSpPr txBox="1">
            <a:spLocks/>
          </p:cNvSpPr>
          <p:nvPr/>
        </p:nvSpPr>
        <p:spPr>
          <a:xfrm>
            <a:off x="1707957" y="780193"/>
            <a:ext cx="12284231" cy="44027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80128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92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</a:pPr>
            <a:r>
              <a:rPr lang="ru-RU" sz="2800" dirty="0" smtClean="0">
                <a:solidFill>
                  <a:srgbClr val="00B05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АЧНЕМ С ОЧЕВИДНЫХ ВЕЩЕЙ, НЕ ПРО ПРИБОРЫ УЧЁТА…</a:t>
            </a:r>
            <a:endParaRPr lang="ru-RU" sz="1600" dirty="0">
              <a:solidFill>
                <a:srgbClr val="00B05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785" y="314174"/>
            <a:ext cx="914400" cy="914400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4701" y="1524805"/>
            <a:ext cx="2186834" cy="2186834"/>
          </a:xfrm>
          <a:prstGeom prst="rect">
            <a:avLst/>
          </a:prstGeom>
        </p:spPr>
      </p:pic>
      <p:grpSp>
        <p:nvGrpSpPr>
          <p:cNvPr id="15" name="Группа 14"/>
          <p:cNvGrpSpPr/>
          <p:nvPr/>
        </p:nvGrpSpPr>
        <p:grpSpPr>
          <a:xfrm>
            <a:off x="9379517" y="2293013"/>
            <a:ext cx="142514" cy="1083504"/>
            <a:chOff x="3548988" y="3232384"/>
            <a:chExt cx="349220" cy="1761838"/>
          </a:xfrm>
        </p:grpSpPr>
        <p:sp>
          <p:nvSpPr>
            <p:cNvPr id="13" name="Прямоугольник 12"/>
            <p:cNvSpPr/>
            <p:nvPr/>
          </p:nvSpPr>
          <p:spPr>
            <a:xfrm rot="2736184">
              <a:off x="2855934" y="3962967"/>
              <a:ext cx="1724309" cy="338202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" name="Прямоугольник 13"/>
            <p:cNvSpPr/>
            <p:nvPr/>
          </p:nvSpPr>
          <p:spPr>
            <a:xfrm rot="7979692">
              <a:off x="2849713" y="3942677"/>
              <a:ext cx="1758788" cy="338202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pic>
        <p:nvPicPr>
          <p:cNvPr id="2052" name="Picture 4" descr="https://rsg.ru/images/kottedzhi-v-prodazhe/ZZZ/Z201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5309" y="1524805"/>
            <a:ext cx="2448927" cy="2446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Прямоугольник 16"/>
          <p:cNvSpPr/>
          <p:nvPr/>
        </p:nvSpPr>
        <p:spPr>
          <a:xfrm>
            <a:off x="4380816" y="3970943"/>
            <a:ext cx="451275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latin typeface="Verdana" panose="020B0604030504040204" pitchFamily="34" charset="0"/>
                <a:ea typeface="Verdana" panose="020B0604030504040204" pitchFamily="34" charset="0"/>
              </a:rPr>
              <a:t>Объём использованной тепловой энергии</a:t>
            </a:r>
            <a:endParaRPr lang="ru-RU" sz="20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9990561" y="3969056"/>
            <a:ext cx="421963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latin typeface="Verdana" panose="020B0604030504040204" pitchFamily="34" charset="0"/>
                <a:ea typeface="Verdana" panose="020B0604030504040204" pitchFamily="34" charset="0"/>
              </a:rPr>
              <a:t>Тариф на тепловую энергию</a:t>
            </a:r>
            <a:endParaRPr lang="ru-RU" sz="20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2056" name="Picture 8" descr="https://ae04.alicdn.com/kf/Hf5b7dc1a35e34015aa2bf76d69568dbcV.jp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134"/>
          <a:stretch/>
        </p:blipFill>
        <p:spPr bwMode="auto">
          <a:xfrm>
            <a:off x="654216" y="1460773"/>
            <a:ext cx="2477292" cy="23501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3" name="Группа 22"/>
          <p:cNvGrpSpPr/>
          <p:nvPr/>
        </p:nvGrpSpPr>
        <p:grpSpPr>
          <a:xfrm>
            <a:off x="3818887" y="2386509"/>
            <a:ext cx="1068866" cy="557098"/>
            <a:chOff x="2690417" y="3990203"/>
            <a:chExt cx="2096442" cy="957219"/>
          </a:xfrm>
        </p:grpSpPr>
        <p:sp>
          <p:nvSpPr>
            <p:cNvPr id="24" name="Прямоугольник 23"/>
            <p:cNvSpPr/>
            <p:nvPr/>
          </p:nvSpPr>
          <p:spPr>
            <a:xfrm>
              <a:off x="2690417" y="3990203"/>
              <a:ext cx="2055344" cy="283731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5" name="Прямоугольник 24"/>
            <p:cNvSpPr/>
            <p:nvPr/>
          </p:nvSpPr>
          <p:spPr>
            <a:xfrm rot="10800000">
              <a:off x="2690417" y="4663691"/>
              <a:ext cx="2096442" cy="283731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26" name="Прямоугольник 25"/>
          <p:cNvSpPr/>
          <p:nvPr/>
        </p:nvSpPr>
        <p:spPr>
          <a:xfrm>
            <a:off x="912142" y="3892673"/>
            <a:ext cx="32957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latin typeface="Verdana" panose="020B0604030504040204" pitchFamily="34" charset="0"/>
                <a:ea typeface="Verdana" panose="020B0604030504040204" pitchFamily="34" charset="0"/>
              </a:rPr>
              <a:t>Размер платы </a:t>
            </a:r>
            <a:endParaRPr lang="en-US" sz="2000" b="1" dirty="0" smtClean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ru-RU" sz="2000" b="1" dirty="0" smtClean="0">
                <a:latin typeface="Verdana" panose="020B0604030504040204" pitchFamily="34" charset="0"/>
                <a:ea typeface="Verdana" panose="020B0604030504040204" pitchFamily="34" charset="0"/>
              </a:rPr>
              <a:t>за отопление</a:t>
            </a:r>
            <a:endParaRPr lang="ru-RU" sz="20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9990561" y="5420795"/>
            <a:ext cx="4038589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800" b="1" dirty="0" smtClean="0">
                <a:solidFill>
                  <a:srgbClr val="C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егулируется государством (исполнительными органами власти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8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Verdana" panose="020B0604030504040204" pitchFamily="34" charset="0"/>
                <a:ea typeface="Verdana" panose="020B0604030504040204" pitchFamily="34" charset="0"/>
              </a:rPr>
              <a:t>Меняется </a:t>
            </a: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</a:rPr>
              <a:t>один раз в год, влиять на его величину потребитель </a:t>
            </a:r>
            <a:endParaRPr lang="en-US" sz="1600" dirty="0" smtClean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en-US" sz="1600" dirty="0" smtClean="0">
                <a:latin typeface="Verdana" panose="020B0604030504040204" pitchFamily="34" charset="0"/>
                <a:ea typeface="Verdana" panose="020B0604030504040204" pitchFamily="34" charset="0"/>
              </a:rPr>
              <a:t>    </a:t>
            </a:r>
            <a:r>
              <a:rPr lang="ru-RU" sz="1600" dirty="0" smtClean="0">
                <a:latin typeface="Verdana" panose="020B0604030504040204" pitchFamily="34" charset="0"/>
                <a:ea typeface="Verdana" panose="020B0604030504040204" pitchFamily="34" charset="0"/>
              </a:rPr>
              <a:t>не может.</a:t>
            </a:r>
            <a:endParaRPr lang="ru-RU" sz="16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3631491" y="5341798"/>
            <a:ext cx="6301498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ru-RU" sz="1800" b="1" dirty="0" smtClean="0">
                <a:solidFill>
                  <a:srgbClr val="C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егулируется законами физики. 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Verdana" panose="020B0604030504040204" pitchFamily="34" charset="0"/>
                <a:ea typeface="Verdana" panose="020B0604030504040204" pitchFamily="34" charset="0"/>
              </a:rPr>
              <a:t>Объект </a:t>
            </a: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</a:rPr>
              <a:t>потребляет ровно столько, сколько </a:t>
            </a:r>
            <a:r>
              <a:rPr lang="ru-RU" sz="1600" dirty="0" smtClean="0">
                <a:latin typeface="Verdana" panose="020B0604030504040204" pitchFamily="34" charset="0"/>
                <a:ea typeface="Verdana" panose="020B0604030504040204" pitchFamily="34" charset="0"/>
              </a:rPr>
              <a:t>теряет тепла.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Verdana" panose="020B0604030504040204" pitchFamily="34" charset="0"/>
                <a:ea typeface="Verdana" panose="020B0604030504040204" pitchFamily="34" charset="0"/>
              </a:rPr>
              <a:t>На величину объёма потребляемой тепловой энергии не может влиять государство и законодательно определять потребление объекта.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Verdana" panose="020B0604030504040204" pitchFamily="34" charset="0"/>
                <a:ea typeface="Verdana" panose="020B0604030504040204" pitchFamily="34" charset="0"/>
              </a:rPr>
              <a:t>Объём может определяться только по фактическому потреблению (ОДПУ) либо расчётным методом, стимулирующим к снижению потребления ресурсов (повышающий  коэффициент, проектные нагрузки).</a:t>
            </a:r>
            <a:endParaRPr lang="ru-RU" sz="16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9" name="Полилиния 18"/>
          <p:cNvSpPr/>
          <p:nvPr/>
        </p:nvSpPr>
        <p:spPr>
          <a:xfrm>
            <a:off x="4566620" y="1382851"/>
            <a:ext cx="3720757" cy="4312020"/>
          </a:xfrm>
          <a:custGeom>
            <a:avLst/>
            <a:gdLst>
              <a:gd name="connsiteX0" fmla="*/ 1729119 w 3720757"/>
              <a:gd name="connsiteY0" fmla="*/ 40645 h 4312020"/>
              <a:gd name="connsiteX1" fmla="*/ 1040187 w 3720757"/>
              <a:gd name="connsiteY1" fmla="*/ 28119 h 4312020"/>
              <a:gd name="connsiteX2" fmla="*/ 1015135 w 3720757"/>
              <a:gd name="connsiteY2" fmla="*/ 78223 h 4312020"/>
              <a:gd name="connsiteX3" fmla="*/ 927453 w 3720757"/>
              <a:gd name="connsiteY3" fmla="*/ 203483 h 4312020"/>
              <a:gd name="connsiteX4" fmla="*/ 852297 w 3720757"/>
              <a:gd name="connsiteY4" fmla="*/ 328744 h 4312020"/>
              <a:gd name="connsiteX5" fmla="*/ 839771 w 3720757"/>
              <a:gd name="connsiteY5" fmla="*/ 479056 h 4312020"/>
              <a:gd name="connsiteX6" fmla="*/ 827245 w 3720757"/>
              <a:gd name="connsiteY6" fmla="*/ 516634 h 4312020"/>
              <a:gd name="connsiteX7" fmla="*/ 814719 w 3720757"/>
              <a:gd name="connsiteY7" fmla="*/ 679473 h 4312020"/>
              <a:gd name="connsiteX8" fmla="*/ 827245 w 3720757"/>
              <a:gd name="connsiteY8" fmla="*/ 942519 h 4312020"/>
              <a:gd name="connsiteX9" fmla="*/ 864823 w 3720757"/>
              <a:gd name="connsiteY9" fmla="*/ 1130410 h 4312020"/>
              <a:gd name="connsiteX10" fmla="*/ 839771 w 3720757"/>
              <a:gd name="connsiteY10" fmla="*/ 2107440 h 4312020"/>
              <a:gd name="connsiteX11" fmla="*/ 802193 w 3720757"/>
              <a:gd name="connsiteY11" fmla="*/ 2232700 h 4312020"/>
              <a:gd name="connsiteX12" fmla="*/ 727037 w 3720757"/>
              <a:gd name="connsiteY12" fmla="*/ 2320382 h 4312020"/>
              <a:gd name="connsiteX13" fmla="*/ 601776 w 3720757"/>
              <a:gd name="connsiteY13" fmla="*/ 2483220 h 4312020"/>
              <a:gd name="connsiteX14" fmla="*/ 501568 w 3720757"/>
              <a:gd name="connsiteY14" fmla="*/ 2608481 h 4312020"/>
              <a:gd name="connsiteX15" fmla="*/ 463990 w 3720757"/>
              <a:gd name="connsiteY15" fmla="*/ 2658585 h 4312020"/>
              <a:gd name="connsiteX16" fmla="*/ 276100 w 3720757"/>
              <a:gd name="connsiteY16" fmla="*/ 2821423 h 4312020"/>
              <a:gd name="connsiteX17" fmla="*/ 113261 w 3720757"/>
              <a:gd name="connsiteY17" fmla="*/ 2921631 h 4312020"/>
              <a:gd name="connsiteX18" fmla="*/ 63157 w 3720757"/>
              <a:gd name="connsiteY18" fmla="*/ 2959210 h 4312020"/>
              <a:gd name="connsiteX19" fmla="*/ 25579 w 3720757"/>
              <a:gd name="connsiteY19" fmla="*/ 3009314 h 4312020"/>
              <a:gd name="connsiteX20" fmla="*/ 527 w 3720757"/>
              <a:gd name="connsiteY20" fmla="*/ 3109522 h 4312020"/>
              <a:gd name="connsiteX21" fmla="*/ 38105 w 3720757"/>
              <a:gd name="connsiteY21" fmla="*/ 3272360 h 4312020"/>
              <a:gd name="connsiteX22" fmla="*/ 63157 w 3720757"/>
              <a:gd name="connsiteY22" fmla="*/ 3397620 h 4312020"/>
              <a:gd name="connsiteX23" fmla="*/ 88209 w 3720757"/>
              <a:gd name="connsiteY23" fmla="*/ 3435199 h 4312020"/>
              <a:gd name="connsiteX24" fmla="*/ 163365 w 3720757"/>
              <a:gd name="connsiteY24" fmla="*/ 3535407 h 4312020"/>
              <a:gd name="connsiteX25" fmla="*/ 200943 w 3720757"/>
              <a:gd name="connsiteY25" fmla="*/ 3635615 h 4312020"/>
              <a:gd name="connsiteX26" fmla="*/ 238522 w 3720757"/>
              <a:gd name="connsiteY26" fmla="*/ 3685719 h 4312020"/>
              <a:gd name="connsiteX27" fmla="*/ 301152 w 3720757"/>
              <a:gd name="connsiteY27" fmla="*/ 3785927 h 4312020"/>
              <a:gd name="connsiteX28" fmla="*/ 313678 w 3720757"/>
              <a:gd name="connsiteY28" fmla="*/ 3823505 h 4312020"/>
              <a:gd name="connsiteX29" fmla="*/ 388834 w 3720757"/>
              <a:gd name="connsiteY29" fmla="*/ 3911188 h 4312020"/>
              <a:gd name="connsiteX30" fmla="*/ 413886 w 3720757"/>
              <a:gd name="connsiteY30" fmla="*/ 3961292 h 4312020"/>
              <a:gd name="connsiteX31" fmla="*/ 626828 w 3720757"/>
              <a:gd name="connsiteY31" fmla="*/ 4086552 h 4312020"/>
              <a:gd name="connsiteX32" fmla="*/ 852297 w 3720757"/>
              <a:gd name="connsiteY32" fmla="*/ 4161708 h 4312020"/>
              <a:gd name="connsiteX33" fmla="*/ 1578807 w 3720757"/>
              <a:gd name="connsiteY33" fmla="*/ 4286968 h 4312020"/>
              <a:gd name="connsiteX34" fmla="*/ 1942061 w 3720757"/>
              <a:gd name="connsiteY34" fmla="*/ 4312020 h 4312020"/>
              <a:gd name="connsiteX35" fmla="*/ 2969196 w 3720757"/>
              <a:gd name="connsiteY35" fmla="*/ 4274442 h 4312020"/>
              <a:gd name="connsiteX36" fmla="*/ 3132034 w 3720757"/>
              <a:gd name="connsiteY36" fmla="*/ 4211812 h 4312020"/>
              <a:gd name="connsiteX37" fmla="*/ 3282346 w 3720757"/>
              <a:gd name="connsiteY37" fmla="*/ 4124130 h 4312020"/>
              <a:gd name="connsiteX38" fmla="*/ 3470237 w 3720757"/>
              <a:gd name="connsiteY38" fmla="*/ 3923714 h 4312020"/>
              <a:gd name="connsiteX39" fmla="*/ 3520341 w 3720757"/>
              <a:gd name="connsiteY39" fmla="*/ 3886136 h 4312020"/>
              <a:gd name="connsiteX40" fmla="*/ 3582971 w 3720757"/>
              <a:gd name="connsiteY40" fmla="*/ 3823505 h 4312020"/>
              <a:gd name="connsiteX41" fmla="*/ 3595497 w 3720757"/>
              <a:gd name="connsiteY41" fmla="*/ 3773401 h 4312020"/>
              <a:gd name="connsiteX42" fmla="*/ 3633075 w 3720757"/>
              <a:gd name="connsiteY42" fmla="*/ 3673193 h 4312020"/>
              <a:gd name="connsiteX43" fmla="*/ 3645601 w 3720757"/>
              <a:gd name="connsiteY43" fmla="*/ 3572985 h 4312020"/>
              <a:gd name="connsiteX44" fmla="*/ 3720757 w 3720757"/>
              <a:gd name="connsiteY44" fmla="*/ 3322464 h 4312020"/>
              <a:gd name="connsiteX45" fmla="*/ 3708231 w 3720757"/>
              <a:gd name="connsiteY45" fmla="*/ 2746267 h 4312020"/>
              <a:gd name="connsiteX46" fmla="*/ 3683179 w 3720757"/>
              <a:gd name="connsiteY46" fmla="*/ 2583429 h 4312020"/>
              <a:gd name="connsiteX47" fmla="*/ 3595497 w 3720757"/>
              <a:gd name="connsiteY47" fmla="*/ 2170070 h 4312020"/>
              <a:gd name="connsiteX48" fmla="*/ 3545393 w 3720757"/>
              <a:gd name="connsiteY48" fmla="*/ 2057336 h 4312020"/>
              <a:gd name="connsiteX49" fmla="*/ 3507815 w 3720757"/>
              <a:gd name="connsiteY49" fmla="*/ 1744185 h 4312020"/>
              <a:gd name="connsiteX50" fmla="*/ 3482763 w 3720757"/>
              <a:gd name="connsiteY50" fmla="*/ 1593873 h 4312020"/>
              <a:gd name="connsiteX51" fmla="*/ 3470237 w 3720757"/>
              <a:gd name="connsiteY51" fmla="*/ 1330826 h 4312020"/>
              <a:gd name="connsiteX52" fmla="*/ 3294872 w 3720757"/>
              <a:gd name="connsiteY52" fmla="*/ 792207 h 4312020"/>
              <a:gd name="connsiteX53" fmla="*/ 3207190 w 3720757"/>
              <a:gd name="connsiteY53" fmla="*/ 691999 h 4312020"/>
              <a:gd name="connsiteX54" fmla="*/ 3106982 w 3720757"/>
              <a:gd name="connsiteY54" fmla="*/ 604316 h 4312020"/>
              <a:gd name="connsiteX55" fmla="*/ 3044352 w 3720757"/>
              <a:gd name="connsiteY55" fmla="*/ 566738 h 4312020"/>
              <a:gd name="connsiteX56" fmla="*/ 2931617 w 3720757"/>
              <a:gd name="connsiteY56" fmla="*/ 479056 h 4312020"/>
              <a:gd name="connsiteX57" fmla="*/ 2806357 w 3720757"/>
              <a:gd name="connsiteY57" fmla="*/ 366322 h 4312020"/>
              <a:gd name="connsiteX58" fmla="*/ 2756253 w 3720757"/>
              <a:gd name="connsiteY58" fmla="*/ 341270 h 4312020"/>
              <a:gd name="connsiteX59" fmla="*/ 2656045 w 3720757"/>
              <a:gd name="connsiteY59" fmla="*/ 278640 h 4312020"/>
              <a:gd name="connsiteX60" fmla="*/ 2380472 w 3720757"/>
              <a:gd name="connsiteY60" fmla="*/ 128327 h 4312020"/>
              <a:gd name="connsiteX61" fmla="*/ 2217634 w 3720757"/>
              <a:gd name="connsiteY61" fmla="*/ 78223 h 4312020"/>
              <a:gd name="connsiteX62" fmla="*/ 2117426 w 3720757"/>
              <a:gd name="connsiteY62" fmla="*/ 40645 h 4312020"/>
              <a:gd name="connsiteX63" fmla="*/ 1942061 w 3720757"/>
              <a:gd name="connsiteY63" fmla="*/ 15593 h 4312020"/>
              <a:gd name="connsiteX64" fmla="*/ 1641437 w 3720757"/>
              <a:gd name="connsiteY64" fmla="*/ 3067 h 4312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3720757" h="4312020">
                <a:moveTo>
                  <a:pt x="1729119" y="40645"/>
                </a:moveTo>
                <a:cubicBezTo>
                  <a:pt x="1646473" y="34447"/>
                  <a:pt x="1212477" y="-32689"/>
                  <a:pt x="1040187" y="28119"/>
                </a:cubicBezTo>
                <a:cubicBezTo>
                  <a:pt x="1022579" y="34334"/>
                  <a:pt x="1025232" y="62516"/>
                  <a:pt x="1015135" y="78223"/>
                </a:cubicBezTo>
                <a:cubicBezTo>
                  <a:pt x="987575" y="121095"/>
                  <a:pt x="954465" y="160263"/>
                  <a:pt x="927453" y="203483"/>
                </a:cubicBezTo>
                <a:cubicBezTo>
                  <a:pt x="810166" y="391143"/>
                  <a:pt x="959133" y="186297"/>
                  <a:pt x="852297" y="328744"/>
                </a:cubicBezTo>
                <a:cubicBezTo>
                  <a:pt x="848122" y="378848"/>
                  <a:pt x="846416" y="429219"/>
                  <a:pt x="839771" y="479056"/>
                </a:cubicBezTo>
                <a:cubicBezTo>
                  <a:pt x="838026" y="492144"/>
                  <a:pt x="828883" y="503532"/>
                  <a:pt x="827245" y="516634"/>
                </a:cubicBezTo>
                <a:cubicBezTo>
                  <a:pt x="820493" y="570654"/>
                  <a:pt x="818894" y="625193"/>
                  <a:pt x="814719" y="679473"/>
                </a:cubicBezTo>
                <a:cubicBezTo>
                  <a:pt x="818894" y="767155"/>
                  <a:pt x="821769" y="854909"/>
                  <a:pt x="827245" y="942519"/>
                </a:cubicBezTo>
                <a:cubicBezTo>
                  <a:pt x="836384" y="1088746"/>
                  <a:pt x="821203" y="1043167"/>
                  <a:pt x="864823" y="1130410"/>
                </a:cubicBezTo>
                <a:cubicBezTo>
                  <a:pt x="908353" y="1522178"/>
                  <a:pt x="885409" y="1263131"/>
                  <a:pt x="839771" y="2107440"/>
                </a:cubicBezTo>
                <a:cubicBezTo>
                  <a:pt x="838120" y="2137984"/>
                  <a:pt x="819010" y="2207475"/>
                  <a:pt x="802193" y="2232700"/>
                </a:cubicBezTo>
                <a:cubicBezTo>
                  <a:pt x="780840" y="2264730"/>
                  <a:pt x="751085" y="2290323"/>
                  <a:pt x="727037" y="2320382"/>
                </a:cubicBezTo>
                <a:cubicBezTo>
                  <a:pt x="684257" y="2373856"/>
                  <a:pt x="643981" y="2429291"/>
                  <a:pt x="601776" y="2483220"/>
                </a:cubicBezTo>
                <a:cubicBezTo>
                  <a:pt x="568822" y="2525328"/>
                  <a:pt x="534603" y="2566436"/>
                  <a:pt x="501568" y="2608481"/>
                </a:cubicBezTo>
                <a:cubicBezTo>
                  <a:pt x="488670" y="2624897"/>
                  <a:pt x="479766" y="2644912"/>
                  <a:pt x="463990" y="2658585"/>
                </a:cubicBezTo>
                <a:cubicBezTo>
                  <a:pt x="401360" y="2712864"/>
                  <a:pt x="346684" y="2777987"/>
                  <a:pt x="276100" y="2821423"/>
                </a:cubicBezTo>
                <a:cubicBezTo>
                  <a:pt x="221820" y="2854826"/>
                  <a:pt x="164248" y="2883390"/>
                  <a:pt x="113261" y="2921631"/>
                </a:cubicBezTo>
                <a:cubicBezTo>
                  <a:pt x="96560" y="2934157"/>
                  <a:pt x="77919" y="2944448"/>
                  <a:pt x="63157" y="2959210"/>
                </a:cubicBezTo>
                <a:cubicBezTo>
                  <a:pt x="48395" y="2973972"/>
                  <a:pt x="38105" y="2992613"/>
                  <a:pt x="25579" y="3009314"/>
                </a:cubicBezTo>
                <a:cubicBezTo>
                  <a:pt x="17228" y="3042717"/>
                  <a:pt x="2817" y="3075168"/>
                  <a:pt x="527" y="3109522"/>
                </a:cubicBezTo>
                <a:cubicBezTo>
                  <a:pt x="-4064" y="3178387"/>
                  <a:pt x="22367" y="3209407"/>
                  <a:pt x="38105" y="3272360"/>
                </a:cubicBezTo>
                <a:cubicBezTo>
                  <a:pt x="48432" y="3313669"/>
                  <a:pt x="50635" y="3356923"/>
                  <a:pt x="63157" y="3397620"/>
                </a:cubicBezTo>
                <a:cubicBezTo>
                  <a:pt x="67584" y="3412009"/>
                  <a:pt x="79354" y="3423024"/>
                  <a:pt x="88209" y="3435199"/>
                </a:cubicBezTo>
                <a:cubicBezTo>
                  <a:pt x="112767" y="3468967"/>
                  <a:pt x="142895" y="3499016"/>
                  <a:pt x="163365" y="3535407"/>
                </a:cubicBezTo>
                <a:cubicBezTo>
                  <a:pt x="180855" y="3566500"/>
                  <a:pt x="184989" y="3603707"/>
                  <a:pt x="200943" y="3635615"/>
                </a:cubicBezTo>
                <a:cubicBezTo>
                  <a:pt x="210280" y="3654288"/>
                  <a:pt x="226942" y="3668348"/>
                  <a:pt x="238522" y="3685719"/>
                </a:cubicBezTo>
                <a:cubicBezTo>
                  <a:pt x="260372" y="3718493"/>
                  <a:pt x="282290" y="3751347"/>
                  <a:pt x="301152" y="3785927"/>
                </a:cubicBezTo>
                <a:cubicBezTo>
                  <a:pt x="307475" y="3797518"/>
                  <a:pt x="306106" y="3812688"/>
                  <a:pt x="313678" y="3823505"/>
                </a:cubicBezTo>
                <a:cubicBezTo>
                  <a:pt x="335753" y="3855041"/>
                  <a:pt x="366192" y="3880056"/>
                  <a:pt x="388834" y="3911188"/>
                </a:cubicBezTo>
                <a:cubicBezTo>
                  <a:pt x="399817" y="3926289"/>
                  <a:pt x="400682" y="3948088"/>
                  <a:pt x="413886" y="3961292"/>
                </a:cubicBezTo>
                <a:cubicBezTo>
                  <a:pt x="516068" y="4063474"/>
                  <a:pt x="511054" y="4037805"/>
                  <a:pt x="626828" y="4086552"/>
                </a:cubicBezTo>
                <a:cubicBezTo>
                  <a:pt x="877236" y="4191986"/>
                  <a:pt x="664494" y="4124147"/>
                  <a:pt x="852297" y="4161708"/>
                </a:cubicBezTo>
                <a:cubicBezTo>
                  <a:pt x="1162383" y="4223725"/>
                  <a:pt x="1089915" y="4253251"/>
                  <a:pt x="1578807" y="4286968"/>
                </a:cubicBezTo>
                <a:lnTo>
                  <a:pt x="1942061" y="4312020"/>
                </a:lnTo>
                <a:cubicBezTo>
                  <a:pt x="2284439" y="4299494"/>
                  <a:pt x="2627797" y="4303191"/>
                  <a:pt x="2969196" y="4274442"/>
                </a:cubicBezTo>
                <a:cubicBezTo>
                  <a:pt x="3027147" y="4269562"/>
                  <a:pt x="3079605" y="4236978"/>
                  <a:pt x="3132034" y="4211812"/>
                </a:cubicBezTo>
                <a:cubicBezTo>
                  <a:pt x="3184327" y="4186711"/>
                  <a:pt x="3235942" y="4158933"/>
                  <a:pt x="3282346" y="4124130"/>
                </a:cubicBezTo>
                <a:cubicBezTo>
                  <a:pt x="3354586" y="4069950"/>
                  <a:pt x="3407214" y="3986737"/>
                  <a:pt x="3470237" y="3923714"/>
                </a:cubicBezTo>
                <a:cubicBezTo>
                  <a:pt x="3484999" y="3908952"/>
                  <a:pt x="3504738" y="3900006"/>
                  <a:pt x="3520341" y="3886136"/>
                </a:cubicBezTo>
                <a:cubicBezTo>
                  <a:pt x="3542408" y="3866521"/>
                  <a:pt x="3562094" y="3844382"/>
                  <a:pt x="3582971" y="3823505"/>
                </a:cubicBezTo>
                <a:cubicBezTo>
                  <a:pt x="3587146" y="3806804"/>
                  <a:pt x="3590053" y="3789733"/>
                  <a:pt x="3595497" y="3773401"/>
                </a:cubicBezTo>
                <a:cubicBezTo>
                  <a:pt x="3606778" y="3739558"/>
                  <a:pt x="3624423" y="3707802"/>
                  <a:pt x="3633075" y="3673193"/>
                </a:cubicBezTo>
                <a:cubicBezTo>
                  <a:pt x="3641239" y="3640535"/>
                  <a:pt x="3637437" y="3605643"/>
                  <a:pt x="3645601" y="3572985"/>
                </a:cubicBezTo>
                <a:cubicBezTo>
                  <a:pt x="3666746" y="3488404"/>
                  <a:pt x="3695705" y="3405971"/>
                  <a:pt x="3720757" y="3322464"/>
                </a:cubicBezTo>
                <a:cubicBezTo>
                  <a:pt x="3716582" y="3130398"/>
                  <a:pt x="3717987" y="2938130"/>
                  <a:pt x="3708231" y="2746267"/>
                </a:cubicBezTo>
                <a:cubicBezTo>
                  <a:pt x="3705442" y="2691420"/>
                  <a:pt x="3692881" y="2637483"/>
                  <a:pt x="3683179" y="2583429"/>
                </a:cubicBezTo>
                <a:cubicBezTo>
                  <a:pt x="3681375" y="2573379"/>
                  <a:pt x="3632615" y="2269052"/>
                  <a:pt x="3595497" y="2170070"/>
                </a:cubicBezTo>
                <a:cubicBezTo>
                  <a:pt x="3581058" y="2131566"/>
                  <a:pt x="3562094" y="2094914"/>
                  <a:pt x="3545393" y="2057336"/>
                </a:cubicBezTo>
                <a:cubicBezTo>
                  <a:pt x="3532867" y="1952952"/>
                  <a:pt x="3521894" y="1848371"/>
                  <a:pt x="3507815" y="1744185"/>
                </a:cubicBezTo>
                <a:cubicBezTo>
                  <a:pt x="3501013" y="1693847"/>
                  <a:pt x="3487362" y="1644460"/>
                  <a:pt x="3482763" y="1593873"/>
                </a:cubicBezTo>
                <a:cubicBezTo>
                  <a:pt x="3474816" y="1506452"/>
                  <a:pt x="3480493" y="1418006"/>
                  <a:pt x="3470237" y="1330826"/>
                </a:cubicBezTo>
                <a:cubicBezTo>
                  <a:pt x="3451967" y="1175528"/>
                  <a:pt x="3333745" y="890885"/>
                  <a:pt x="3294872" y="792207"/>
                </a:cubicBezTo>
                <a:cubicBezTo>
                  <a:pt x="3281855" y="759164"/>
                  <a:pt x="3224745" y="708203"/>
                  <a:pt x="3207190" y="691999"/>
                </a:cubicBezTo>
                <a:cubicBezTo>
                  <a:pt x="3174576" y="661894"/>
                  <a:pt x="3142162" y="631378"/>
                  <a:pt x="3106982" y="604316"/>
                </a:cubicBezTo>
                <a:cubicBezTo>
                  <a:pt x="3087685" y="589472"/>
                  <a:pt x="3064163" y="580889"/>
                  <a:pt x="3044352" y="566738"/>
                </a:cubicBezTo>
                <a:cubicBezTo>
                  <a:pt x="3005613" y="539067"/>
                  <a:pt x="2968032" y="509721"/>
                  <a:pt x="2931617" y="479056"/>
                </a:cubicBezTo>
                <a:cubicBezTo>
                  <a:pt x="2888649" y="442873"/>
                  <a:pt x="2850527" y="401027"/>
                  <a:pt x="2806357" y="366322"/>
                </a:cubicBezTo>
                <a:cubicBezTo>
                  <a:pt x="2791674" y="354786"/>
                  <a:pt x="2772382" y="350679"/>
                  <a:pt x="2756253" y="341270"/>
                </a:cubicBezTo>
                <a:cubicBezTo>
                  <a:pt x="2722229" y="321423"/>
                  <a:pt x="2690315" y="298060"/>
                  <a:pt x="2656045" y="278640"/>
                </a:cubicBezTo>
                <a:cubicBezTo>
                  <a:pt x="2565011" y="227054"/>
                  <a:pt x="2481080" y="157072"/>
                  <a:pt x="2380472" y="128327"/>
                </a:cubicBezTo>
                <a:cubicBezTo>
                  <a:pt x="2307301" y="107421"/>
                  <a:pt x="2286963" y="102983"/>
                  <a:pt x="2217634" y="78223"/>
                </a:cubicBezTo>
                <a:cubicBezTo>
                  <a:pt x="2184038" y="66225"/>
                  <a:pt x="2151727" y="50445"/>
                  <a:pt x="2117426" y="40645"/>
                </a:cubicBezTo>
                <a:cubicBezTo>
                  <a:pt x="2087538" y="32106"/>
                  <a:pt x="1963460" y="18650"/>
                  <a:pt x="1942061" y="15593"/>
                </a:cubicBezTo>
                <a:cubicBezTo>
                  <a:pt x="1767889" y="-9289"/>
                  <a:pt x="1965935" y="3067"/>
                  <a:pt x="1641437" y="3067"/>
                </a:cubicBez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Полилиния 20"/>
          <p:cNvSpPr/>
          <p:nvPr/>
        </p:nvSpPr>
        <p:spPr>
          <a:xfrm>
            <a:off x="10218852" y="1390229"/>
            <a:ext cx="3246627" cy="4008489"/>
          </a:xfrm>
          <a:custGeom>
            <a:avLst/>
            <a:gdLst>
              <a:gd name="connsiteX0" fmla="*/ 1831186 w 3246627"/>
              <a:gd name="connsiteY0" fmla="*/ 50264 h 4008489"/>
              <a:gd name="connsiteX1" fmla="*/ 1756030 w 3246627"/>
              <a:gd name="connsiteY1" fmla="*/ 12686 h 4008489"/>
              <a:gd name="connsiteX2" fmla="*/ 866682 w 3246627"/>
              <a:gd name="connsiteY2" fmla="*/ 50264 h 4008489"/>
              <a:gd name="connsiteX3" fmla="*/ 666266 w 3246627"/>
              <a:gd name="connsiteY3" fmla="*/ 225629 h 4008489"/>
              <a:gd name="connsiteX4" fmla="*/ 528480 w 3246627"/>
              <a:gd name="connsiteY4" fmla="*/ 363415 h 4008489"/>
              <a:gd name="connsiteX5" fmla="*/ 440797 w 3246627"/>
              <a:gd name="connsiteY5" fmla="*/ 501201 h 4008489"/>
              <a:gd name="connsiteX6" fmla="*/ 277959 w 3246627"/>
              <a:gd name="connsiteY6" fmla="*/ 801826 h 4008489"/>
              <a:gd name="connsiteX7" fmla="*/ 240381 w 3246627"/>
              <a:gd name="connsiteY7" fmla="*/ 864456 h 4008489"/>
              <a:gd name="connsiteX8" fmla="*/ 165225 w 3246627"/>
              <a:gd name="connsiteY8" fmla="*/ 1165081 h 4008489"/>
              <a:gd name="connsiteX9" fmla="*/ 115121 w 3246627"/>
              <a:gd name="connsiteY9" fmla="*/ 1490757 h 4008489"/>
              <a:gd name="connsiteX10" fmla="*/ 77543 w 3246627"/>
              <a:gd name="connsiteY10" fmla="*/ 1866538 h 4008489"/>
              <a:gd name="connsiteX11" fmla="*/ 65016 w 3246627"/>
              <a:gd name="connsiteY11" fmla="*/ 1916642 h 4008489"/>
              <a:gd name="connsiteX12" fmla="*/ 14912 w 3246627"/>
              <a:gd name="connsiteY12" fmla="*/ 2279897 h 4008489"/>
              <a:gd name="connsiteX13" fmla="*/ 52490 w 3246627"/>
              <a:gd name="connsiteY13" fmla="*/ 2868620 h 4008489"/>
              <a:gd name="connsiteX14" fmla="*/ 65016 w 3246627"/>
              <a:gd name="connsiteY14" fmla="*/ 2906198 h 4008489"/>
              <a:gd name="connsiteX15" fmla="*/ 215329 w 3246627"/>
              <a:gd name="connsiteY15" fmla="*/ 3169245 h 4008489"/>
              <a:gd name="connsiteX16" fmla="*/ 503427 w 3246627"/>
              <a:gd name="connsiteY16" fmla="*/ 3519974 h 4008489"/>
              <a:gd name="connsiteX17" fmla="*/ 929312 w 3246627"/>
              <a:gd name="connsiteY17" fmla="*/ 3770494 h 4008489"/>
              <a:gd name="connsiteX18" fmla="*/ 1380249 w 3246627"/>
              <a:gd name="connsiteY18" fmla="*/ 3970911 h 4008489"/>
              <a:gd name="connsiteX19" fmla="*/ 1630770 w 3246627"/>
              <a:gd name="connsiteY19" fmla="*/ 4008489 h 4008489"/>
              <a:gd name="connsiteX20" fmla="*/ 2332227 w 3246627"/>
              <a:gd name="connsiteY20" fmla="*/ 3958385 h 4008489"/>
              <a:gd name="connsiteX21" fmla="*/ 2394858 w 3246627"/>
              <a:gd name="connsiteY21" fmla="*/ 3933333 h 4008489"/>
              <a:gd name="connsiteX22" fmla="*/ 2482540 w 3246627"/>
              <a:gd name="connsiteY22" fmla="*/ 3908281 h 4008489"/>
              <a:gd name="connsiteX23" fmla="*/ 2670430 w 3246627"/>
              <a:gd name="connsiteY23" fmla="*/ 3783020 h 4008489"/>
              <a:gd name="connsiteX24" fmla="*/ 2708008 w 3246627"/>
              <a:gd name="connsiteY24" fmla="*/ 3745442 h 4008489"/>
              <a:gd name="connsiteX25" fmla="*/ 2808216 w 3246627"/>
              <a:gd name="connsiteY25" fmla="*/ 3695338 h 4008489"/>
              <a:gd name="connsiteX26" fmla="*/ 3033685 w 3246627"/>
              <a:gd name="connsiteY26" fmla="*/ 3469870 h 4008489"/>
              <a:gd name="connsiteX27" fmla="*/ 3083789 w 3246627"/>
              <a:gd name="connsiteY27" fmla="*/ 3394713 h 4008489"/>
              <a:gd name="connsiteX28" fmla="*/ 3096315 w 3246627"/>
              <a:gd name="connsiteY28" fmla="*/ 3344609 h 4008489"/>
              <a:gd name="connsiteX29" fmla="*/ 3209049 w 3246627"/>
              <a:gd name="connsiteY29" fmla="*/ 2981355 h 4008489"/>
              <a:gd name="connsiteX30" fmla="*/ 3221575 w 3246627"/>
              <a:gd name="connsiteY30" fmla="*/ 2893672 h 4008489"/>
              <a:gd name="connsiteX31" fmla="*/ 3246627 w 3246627"/>
              <a:gd name="connsiteY31" fmla="*/ 2668204 h 4008489"/>
              <a:gd name="connsiteX32" fmla="*/ 3221575 w 3246627"/>
              <a:gd name="connsiteY32" fmla="*/ 1778856 h 4008489"/>
              <a:gd name="connsiteX33" fmla="*/ 3183997 w 3246627"/>
              <a:gd name="connsiteY33" fmla="*/ 1641070 h 4008489"/>
              <a:gd name="connsiteX34" fmla="*/ 3096315 w 3246627"/>
              <a:gd name="connsiteY34" fmla="*/ 1440653 h 4008489"/>
              <a:gd name="connsiteX35" fmla="*/ 2895899 w 3246627"/>
              <a:gd name="connsiteY35" fmla="*/ 1127503 h 4008489"/>
              <a:gd name="connsiteX36" fmla="*/ 2858321 w 3246627"/>
              <a:gd name="connsiteY36" fmla="*/ 1077398 h 4008489"/>
              <a:gd name="connsiteX37" fmla="*/ 2682956 w 3246627"/>
              <a:gd name="connsiteY37" fmla="*/ 826878 h 4008489"/>
              <a:gd name="connsiteX38" fmla="*/ 2595274 w 3246627"/>
              <a:gd name="connsiteY38" fmla="*/ 739196 h 4008489"/>
              <a:gd name="connsiteX39" fmla="*/ 2457488 w 3246627"/>
              <a:gd name="connsiteY39" fmla="*/ 563831 h 4008489"/>
              <a:gd name="connsiteX40" fmla="*/ 2344753 w 3246627"/>
              <a:gd name="connsiteY40" fmla="*/ 426045 h 4008489"/>
              <a:gd name="connsiteX41" fmla="*/ 2156863 w 3246627"/>
              <a:gd name="connsiteY41" fmla="*/ 275733 h 4008489"/>
              <a:gd name="connsiteX42" fmla="*/ 2094233 w 3246627"/>
              <a:gd name="connsiteY42" fmla="*/ 238155 h 4008489"/>
              <a:gd name="connsiteX43" fmla="*/ 1906343 w 3246627"/>
              <a:gd name="connsiteY43" fmla="*/ 87842 h 4008489"/>
              <a:gd name="connsiteX44" fmla="*/ 1781082 w 3246627"/>
              <a:gd name="connsiteY44" fmla="*/ 37738 h 4008489"/>
              <a:gd name="connsiteX45" fmla="*/ 1730978 w 3246627"/>
              <a:gd name="connsiteY45" fmla="*/ 160 h 4008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3246627" h="4008489">
                <a:moveTo>
                  <a:pt x="1831186" y="50264"/>
                </a:moveTo>
                <a:cubicBezTo>
                  <a:pt x="1806134" y="37738"/>
                  <a:pt x="1783658" y="17291"/>
                  <a:pt x="1756030" y="12686"/>
                </a:cubicBezTo>
                <a:cubicBezTo>
                  <a:pt x="1514121" y="-27632"/>
                  <a:pt x="1000811" y="40141"/>
                  <a:pt x="866682" y="50264"/>
                </a:cubicBezTo>
                <a:cubicBezTo>
                  <a:pt x="701360" y="168351"/>
                  <a:pt x="855288" y="51146"/>
                  <a:pt x="666266" y="225629"/>
                </a:cubicBezTo>
                <a:cubicBezTo>
                  <a:pt x="570068" y="314428"/>
                  <a:pt x="652416" y="195217"/>
                  <a:pt x="528480" y="363415"/>
                </a:cubicBezTo>
                <a:cubicBezTo>
                  <a:pt x="496186" y="407242"/>
                  <a:pt x="467807" y="453934"/>
                  <a:pt x="440797" y="501201"/>
                </a:cubicBezTo>
                <a:cubicBezTo>
                  <a:pt x="384255" y="600150"/>
                  <a:pt x="336593" y="704102"/>
                  <a:pt x="277959" y="801826"/>
                </a:cubicBezTo>
                <a:lnTo>
                  <a:pt x="240381" y="864456"/>
                </a:lnTo>
                <a:cubicBezTo>
                  <a:pt x="211948" y="963971"/>
                  <a:pt x="182345" y="1062360"/>
                  <a:pt x="165225" y="1165081"/>
                </a:cubicBezTo>
                <a:cubicBezTo>
                  <a:pt x="97464" y="1571651"/>
                  <a:pt x="177150" y="1273657"/>
                  <a:pt x="115121" y="1490757"/>
                </a:cubicBezTo>
                <a:cubicBezTo>
                  <a:pt x="102595" y="1616017"/>
                  <a:pt x="92252" y="1741515"/>
                  <a:pt x="77543" y="1866538"/>
                </a:cubicBezTo>
                <a:cubicBezTo>
                  <a:pt x="75531" y="1883636"/>
                  <a:pt x="66917" y="1899532"/>
                  <a:pt x="65016" y="1916642"/>
                </a:cubicBezTo>
                <a:cubicBezTo>
                  <a:pt x="26590" y="2262460"/>
                  <a:pt x="87251" y="1918203"/>
                  <a:pt x="14912" y="2279897"/>
                </a:cubicBezTo>
                <a:cubicBezTo>
                  <a:pt x="649" y="2679257"/>
                  <a:pt x="-22516" y="2538596"/>
                  <a:pt x="52490" y="2868620"/>
                </a:cubicBezTo>
                <a:cubicBezTo>
                  <a:pt x="55416" y="2881495"/>
                  <a:pt x="59111" y="2894388"/>
                  <a:pt x="65016" y="2906198"/>
                </a:cubicBezTo>
                <a:cubicBezTo>
                  <a:pt x="84472" y="2945110"/>
                  <a:pt x="175551" y="3118102"/>
                  <a:pt x="215329" y="3169245"/>
                </a:cubicBezTo>
                <a:cubicBezTo>
                  <a:pt x="308215" y="3288670"/>
                  <a:pt x="373021" y="3443265"/>
                  <a:pt x="503427" y="3519974"/>
                </a:cubicBezTo>
                <a:lnTo>
                  <a:pt x="929312" y="3770494"/>
                </a:lnTo>
                <a:cubicBezTo>
                  <a:pt x="1091200" y="3866752"/>
                  <a:pt x="955274" y="3907165"/>
                  <a:pt x="1380249" y="3970911"/>
                </a:cubicBezTo>
                <a:lnTo>
                  <a:pt x="1630770" y="4008489"/>
                </a:lnTo>
                <a:cubicBezTo>
                  <a:pt x="1864589" y="3991788"/>
                  <a:pt x="2098938" y="3981331"/>
                  <a:pt x="2332227" y="3958385"/>
                </a:cubicBezTo>
                <a:cubicBezTo>
                  <a:pt x="2354604" y="3956184"/>
                  <a:pt x="2373527" y="3940443"/>
                  <a:pt x="2394858" y="3933333"/>
                </a:cubicBezTo>
                <a:cubicBezTo>
                  <a:pt x="2423695" y="3923721"/>
                  <a:pt x="2453313" y="3916632"/>
                  <a:pt x="2482540" y="3908281"/>
                </a:cubicBezTo>
                <a:cubicBezTo>
                  <a:pt x="2545170" y="3866527"/>
                  <a:pt x="2609409" y="3827091"/>
                  <a:pt x="2670430" y="3783020"/>
                </a:cubicBezTo>
                <a:cubicBezTo>
                  <a:pt x="2684791" y="3772648"/>
                  <a:pt x="2693063" y="3754952"/>
                  <a:pt x="2708008" y="3745442"/>
                </a:cubicBezTo>
                <a:cubicBezTo>
                  <a:pt x="2739515" y="3725392"/>
                  <a:pt x="2779707" y="3719461"/>
                  <a:pt x="2808216" y="3695338"/>
                </a:cubicBezTo>
                <a:cubicBezTo>
                  <a:pt x="2889354" y="3626683"/>
                  <a:pt x="2986152" y="3564936"/>
                  <a:pt x="3033685" y="3469870"/>
                </a:cubicBezTo>
                <a:cubicBezTo>
                  <a:pt x="3064019" y="3409203"/>
                  <a:pt x="3045534" y="3432970"/>
                  <a:pt x="3083789" y="3394713"/>
                </a:cubicBezTo>
                <a:cubicBezTo>
                  <a:pt x="3087964" y="3378012"/>
                  <a:pt x="3091322" y="3361085"/>
                  <a:pt x="3096315" y="3344609"/>
                </a:cubicBezTo>
                <a:cubicBezTo>
                  <a:pt x="3133083" y="3223276"/>
                  <a:pt x="3175117" y="3103511"/>
                  <a:pt x="3209049" y="2981355"/>
                </a:cubicBezTo>
                <a:cubicBezTo>
                  <a:pt x="3216951" y="2952908"/>
                  <a:pt x="3218057" y="2922986"/>
                  <a:pt x="3221575" y="2893672"/>
                </a:cubicBezTo>
                <a:cubicBezTo>
                  <a:pt x="3230585" y="2818592"/>
                  <a:pt x="3238276" y="2743360"/>
                  <a:pt x="3246627" y="2668204"/>
                </a:cubicBezTo>
                <a:cubicBezTo>
                  <a:pt x="3238276" y="2371755"/>
                  <a:pt x="3239625" y="2074873"/>
                  <a:pt x="3221575" y="1778856"/>
                </a:cubicBezTo>
                <a:cubicBezTo>
                  <a:pt x="3218678" y="1731338"/>
                  <a:pt x="3198333" y="1686466"/>
                  <a:pt x="3183997" y="1641070"/>
                </a:cubicBezTo>
                <a:cubicBezTo>
                  <a:pt x="3164579" y="1579579"/>
                  <a:pt x="3129636" y="1495632"/>
                  <a:pt x="3096315" y="1440653"/>
                </a:cubicBezTo>
                <a:cubicBezTo>
                  <a:pt x="3032081" y="1334668"/>
                  <a:pt x="2970257" y="1226648"/>
                  <a:pt x="2895899" y="1127503"/>
                </a:cubicBezTo>
                <a:cubicBezTo>
                  <a:pt x="2883373" y="1110801"/>
                  <a:pt x="2870388" y="1094434"/>
                  <a:pt x="2858321" y="1077398"/>
                </a:cubicBezTo>
                <a:cubicBezTo>
                  <a:pt x="2799402" y="994218"/>
                  <a:pt x="2755034" y="898956"/>
                  <a:pt x="2682956" y="826878"/>
                </a:cubicBezTo>
                <a:cubicBezTo>
                  <a:pt x="2653729" y="797651"/>
                  <a:pt x="2622174" y="770579"/>
                  <a:pt x="2595274" y="739196"/>
                </a:cubicBezTo>
                <a:cubicBezTo>
                  <a:pt x="2546894" y="682753"/>
                  <a:pt x="2503928" y="621881"/>
                  <a:pt x="2457488" y="563831"/>
                </a:cubicBezTo>
                <a:cubicBezTo>
                  <a:pt x="2420417" y="517492"/>
                  <a:pt x="2391092" y="463116"/>
                  <a:pt x="2344753" y="426045"/>
                </a:cubicBezTo>
                <a:cubicBezTo>
                  <a:pt x="2282123" y="375941"/>
                  <a:pt x="2221027" y="323856"/>
                  <a:pt x="2156863" y="275733"/>
                </a:cubicBezTo>
                <a:cubicBezTo>
                  <a:pt x="2137386" y="261125"/>
                  <a:pt x="2113710" y="252763"/>
                  <a:pt x="2094233" y="238155"/>
                </a:cubicBezTo>
                <a:cubicBezTo>
                  <a:pt x="1930249" y="115165"/>
                  <a:pt x="2361163" y="356598"/>
                  <a:pt x="1906343" y="87842"/>
                </a:cubicBezTo>
                <a:cubicBezTo>
                  <a:pt x="1867627" y="64964"/>
                  <a:pt x="1822836" y="54439"/>
                  <a:pt x="1781082" y="37738"/>
                </a:cubicBezTo>
                <a:cubicBezTo>
                  <a:pt x="1740552" y="-2792"/>
                  <a:pt x="1761218" y="160"/>
                  <a:pt x="1730978" y="160"/>
                </a:cubicBez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39198" y="6944896"/>
            <a:ext cx="1866899" cy="2008442"/>
          </a:xfrm>
          <a:prstGeom prst="rect">
            <a:avLst/>
          </a:prstGeom>
        </p:spPr>
      </p:pic>
      <p:pic>
        <p:nvPicPr>
          <p:cNvPr id="30" name="Рисунок 2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1232456" y="8238456"/>
            <a:ext cx="2233023" cy="878695"/>
          </a:xfrm>
          <a:prstGeom prst="rect">
            <a:avLst/>
          </a:prstGeom>
        </p:spPr>
      </p:pic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18DD483E-60FD-493F-8F08-A2A91EF7CD6B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16199" y="314174"/>
            <a:ext cx="2080546" cy="750848"/>
          </a:xfrm>
          <a:prstGeom prst="rect">
            <a:avLst/>
          </a:prstGeom>
        </p:spPr>
      </p:pic>
      <p:pic>
        <p:nvPicPr>
          <p:cNvPr id="2054" name="Picture 6" descr="https://ledsshop.ru/wp-content/uploads/8/a/f/8afd1ba86867fbee06af68dfd38da700.png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106" t="15209"/>
          <a:stretch/>
        </p:blipFill>
        <p:spPr bwMode="auto">
          <a:xfrm>
            <a:off x="14704019" y="1382850"/>
            <a:ext cx="2349622" cy="83114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Скругленный прямоугольник 1"/>
          <p:cNvSpPr/>
          <p:nvPr/>
        </p:nvSpPr>
        <p:spPr>
          <a:xfrm>
            <a:off x="3631491" y="5331606"/>
            <a:ext cx="6165060" cy="3164946"/>
          </a:xfrm>
          <a:prstGeom prst="roundRect">
            <a:avLst/>
          </a:prstGeom>
          <a:solidFill>
            <a:srgbClr val="00B050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5" name="Группа 4"/>
          <p:cNvGrpSpPr/>
          <p:nvPr/>
        </p:nvGrpSpPr>
        <p:grpSpPr>
          <a:xfrm>
            <a:off x="-946579" y="4898085"/>
            <a:ext cx="4485168" cy="4923404"/>
            <a:chOff x="-956154" y="4739510"/>
            <a:chExt cx="4800397" cy="5540061"/>
          </a:xfrm>
        </p:grpSpPr>
        <p:sp>
          <p:nvSpPr>
            <p:cNvPr id="11" name="Выноска-облако 10"/>
            <p:cNvSpPr/>
            <p:nvPr/>
          </p:nvSpPr>
          <p:spPr>
            <a:xfrm>
              <a:off x="454229" y="4739510"/>
              <a:ext cx="3390014" cy="909370"/>
            </a:xfrm>
            <a:prstGeom prst="cloudCallout">
              <a:avLst>
                <a:gd name="adj1" fmla="val 6952"/>
                <a:gd name="adj2" fmla="val 97797"/>
              </a:avLst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612024" y="4946011"/>
              <a:ext cx="3062387" cy="5194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200" b="1" dirty="0" smtClean="0">
                  <a:solidFill>
                    <a:srgbClr val="C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Запомни! </a:t>
              </a:r>
              <a:r>
                <a:rPr lang="ru-RU" sz="1200" b="1" dirty="0" smtClean="0">
                  <a:latin typeface="Verdana" panose="020B0604030504040204" pitchFamily="34" charset="0"/>
                  <a:ea typeface="Verdana" panose="020B0604030504040204" pitchFamily="34" charset="0"/>
                </a:rPr>
                <a:t>Эта информация понадобится дальше.</a:t>
              </a:r>
            </a:p>
          </p:txBody>
        </p:sp>
        <p:pic>
          <p:nvPicPr>
            <p:cNvPr id="31" name="Рисунок 30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956154" y="5549624"/>
              <a:ext cx="3547300" cy="3919833"/>
            </a:xfrm>
            <a:prstGeom prst="rect">
              <a:avLst/>
            </a:prstGeom>
          </p:spPr>
        </p:pic>
        <p:pic>
          <p:nvPicPr>
            <p:cNvPr id="4" name="Рисунок 3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14519" y="5938640"/>
              <a:ext cx="2415218" cy="1638958"/>
            </a:xfrm>
            <a:prstGeom prst="rect">
              <a:avLst/>
            </a:prstGeom>
          </p:spPr>
        </p:pic>
        <p:pic>
          <p:nvPicPr>
            <p:cNvPr id="18" name="Рисунок 17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354052" y="8734795"/>
              <a:ext cx="2242775" cy="154477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0847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олилиния 14"/>
          <p:cNvSpPr/>
          <p:nvPr/>
        </p:nvSpPr>
        <p:spPr>
          <a:xfrm>
            <a:off x="5725553" y="2679469"/>
            <a:ext cx="4809010" cy="3210291"/>
          </a:xfrm>
          <a:custGeom>
            <a:avLst/>
            <a:gdLst>
              <a:gd name="connsiteX0" fmla="*/ 0 w 4908885"/>
              <a:gd name="connsiteY0" fmla="*/ 1804737 h 3224463"/>
              <a:gd name="connsiteX1" fmla="*/ 902369 w 4908885"/>
              <a:gd name="connsiteY1" fmla="*/ 0 h 3224463"/>
              <a:gd name="connsiteX2" fmla="*/ 3753853 w 4908885"/>
              <a:gd name="connsiteY2" fmla="*/ 0 h 3224463"/>
              <a:gd name="connsiteX3" fmla="*/ 4908885 w 4908885"/>
              <a:gd name="connsiteY3" fmla="*/ 1816768 h 3224463"/>
              <a:gd name="connsiteX4" fmla="*/ 3958390 w 4908885"/>
              <a:gd name="connsiteY4" fmla="*/ 3224463 h 3224463"/>
              <a:gd name="connsiteX5" fmla="*/ 1094874 w 4908885"/>
              <a:gd name="connsiteY5" fmla="*/ 3224463 h 3224463"/>
              <a:gd name="connsiteX6" fmla="*/ 0 w 4908885"/>
              <a:gd name="connsiteY6" fmla="*/ 1804737 h 32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08885" h="3224463">
                <a:moveTo>
                  <a:pt x="0" y="1804737"/>
                </a:moveTo>
                <a:lnTo>
                  <a:pt x="902369" y="0"/>
                </a:lnTo>
                <a:lnTo>
                  <a:pt x="3753853" y="0"/>
                </a:lnTo>
                <a:lnTo>
                  <a:pt x="4908885" y="1816768"/>
                </a:lnTo>
                <a:lnTo>
                  <a:pt x="3958390" y="3224463"/>
                </a:lnTo>
                <a:lnTo>
                  <a:pt x="1094874" y="3224463"/>
                </a:lnTo>
                <a:lnTo>
                  <a:pt x="0" y="1804737"/>
                </a:lnTo>
                <a:close/>
              </a:path>
            </a:pathLst>
          </a:custGeom>
          <a:solidFill>
            <a:srgbClr val="5AC37D">
              <a:alpha val="13000"/>
            </a:srgb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0" name="Прямоугольник 59"/>
          <p:cNvSpPr/>
          <p:nvPr/>
        </p:nvSpPr>
        <p:spPr>
          <a:xfrm>
            <a:off x="11046586" y="8127115"/>
            <a:ext cx="3859442" cy="4571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5" name="Прямоугольник 64"/>
          <p:cNvSpPr/>
          <p:nvPr/>
        </p:nvSpPr>
        <p:spPr>
          <a:xfrm>
            <a:off x="14856912" y="8558621"/>
            <a:ext cx="960707" cy="4571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3" name="Прямоугольник 62"/>
          <p:cNvSpPr/>
          <p:nvPr/>
        </p:nvSpPr>
        <p:spPr>
          <a:xfrm>
            <a:off x="14856913" y="7742344"/>
            <a:ext cx="533073" cy="53663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292510" y="8963072"/>
            <a:ext cx="403769" cy="352925"/>
          </a:xfrm>
        </p:spPr>
        <p:txBody>
          <a:bodyPr/>
          <a:lstStyle/>
          <a:p>
            <a:fld id="{F90E5A77-D385-4CDE-8FE8-D3E3CBE93E71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26" name="Прямоугольник 25"/>
          <p:cNvSpPr/>
          <p:nvPr/>
        </p:nvSpPr>
        <p:spPr>
          <a:xfrm>
            <a:off x="11046586" y="8016224"/>
            <a:ext cx="3691325" cy="4571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7" name="Рисунок 2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2317" y="6449915"/>
            <a:ext cx="2072470" cy="2108706"/>
          </a:xfrm>
          <a:prstGeom prst="rect">
            <a:avLst/>
          </a:prstGeom>
        </p:spPr>
      </p:pic>
      <p:sp>
        <p:nvSpPr>
          <p:cNvPr id="29" name="Прямоугольник 28"/>
          <p:cNvSpPr/>
          <p:nvPr/>
        </p:nvSpPr>
        <p:spPr>
          <a:xfrm rot="5400000">
            <a:off x="14170736" y="8187485"/>
            <a:ext cx="1088631" cy="4571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Прямоугольник 29"/>
          <p:cNvSpPr/>
          <p:nvPr/>
        </p:nvSpPr>
        <p:spPr>
          <a:xfrm>
            <a:off x="14697273" y="7635534"/>
            <a:ext cx="692713" cy="50573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Прямоугольник 30"/>
          <p:cNvSpPr/>
          <p:nvPr/>
        </p:nvSpPr>
        <p:spPr>
          <a:xfrm>
            <a:off x="14692192" y="8282734"/>
            <a:ext cx="373935" cy="4571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2" name="Рисунок 31" descr="6.png"/>
          <p:cNvPicPr>
            <a:picLocks noChangeAspect="1"/>
          </p:cNvPicPr>
          <p:nvPr/>
        </p:nvPicPr>
        <p:blipFill>
          <a:blip r:embed="rId4" cstate="print"/>
          <a:srcRect l="5212" r="4363"/>
          <a:stretch>
            <a:fillRect/>
          </a:stretch>
        </p:blipFill>
        <p:spPr>
          <a:xfrm>
            <a:off x="14988470" y="7832871"/>
            <a:ext cx="665630" cy="736120"/>
          </a:xfrm>
          <a:prstGeom prst="rect">
            <a:avLst/>
          </a:prstGeom>
        </p:spPr>
      </p:pic>
      <p:sp>
        <p:nvSpPr>
          <p:cNvPr id="33" name="Прямоугольник 32"/>
          <p:cNvSpPr/>
          <p:nvPr/>
        </p:nvSpPr>
        <p:spPr>
          <a:xfrm>
            <a:off x="14706568" y="8745523"/>
            <a:ext cx="1047484" cy="4571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" name="Заголовок 2"/>
          <p:cNvSpPr txBox="1">
            <a:spLocks/>
          </p:cNvSpPr>
          <p:nvPr/>
        </p:nvSpPr>
        <p:spPr>
          <a:xfrm>
            <a:off x="1844263" y="952246"/>
            <a:ext cx="12284231" cy="44027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80128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92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</a:pPr>
            <a:r>
              <a:rPr lang="ru-RU" sz="3200" dirty="0" smtClean="0">
                <a:solidFill>
                  <a:srgbClr val="00B05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СИСТЕМА</a:t>
            </a:r>
            <a:endParaRPr lang="ru-RU" sz="1800" dirty="0">
              <a:solidFill>
                <a:srgbClr val="00B05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788282" y="6867669"/>
            <a:ext cx="7921770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/>
              <a:t>Цель</a:t>
            </a:r>
            <a:r>
              <a:rPr lang="ru-RU" sz="1600" dirty="0" smtClean="0"/>
              <a:t> – Надежное безопасное теплоснабжение, </a:t>
            </a:r>
            <a:r>
              <a:rPr lang="ru-RU" sz="1600" dirty="0"/>
              <a:t>при балансе </a:t>
            </a:r>
            <a:r>
              <a:rPr lang="ru-RU" sz="1600" dirty="0" smtClean="0"/>
              <a:t>экономических интересов всех участников</a:t>
            </a:r>
          </a:p>
          <a:p>
            <a:r>
              <a:rPr lang="ru-RU" sz="1600" b="1" dirty="0"/>
              <a:t>Элементы</a:t>
            </a:r>
            <a:r>
              <a:rPr lang="ru-RU" sz="1600" dirty="0"/>
              <a:t>: Источники тепловой энергии, теплоснабжающая организация, потребители</a:t>
            </a:r>
          </a:p>
          <a:p>
            <a:r>
              <a:rPr lang="ru-RU" sz="1600" b="1" dirty="0" smtClean="0"/>
              <a:t>Выгода</a:t>
            </a:r>
            <a:r>
              <a:rPr lang="ru-RU" sz="1600" dirty="0" smtClean="0"/>
              <a:t>: Потребителям – тепловая энергия для отопления и ГВС, Источнику – сбыт произведенной тепловой энергии, Теплоснабжающей организации – оплата за транспортировку тепловой энергии</a:t>
            </a:r>
          </a:p>
          <a:p>
            <a:r>
              <a:rPr lang="ru-RU" sz="1600" b="1" dirty="0" smtClean="0"/>
              <a:t>Общие правила</a:t>
            </a:r>
            <a:r>
              <a:rPr lang="ru-RU" sz="1600" dirty="0" smtClean="0"/>
              <a:t> – Федеральные законы, Технические регламенты</a:t>
            </a:r>
          </a:p>
        </p:txBody>
      </p:sp>
      <p:pic>
        <p:nvPicPr>
          <p:cNvPr id="52" name="Рисунок 5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33585" y="6862209"/>
            <a:ext cx="1004757" cy="969590"/>
          </a:xfrm>
          <a:prstGeom prst="rect">
            <a:avLst/>
          </a:prstGeom>
        </p:spPr>
      </p:pic>
      <p:pic>
        <p:nvPicPr>
          <p:cNvPr id="54" name="Рисунок 5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72215" y="8229787"/>
            <a:ext cx="795251" cy="795251"/>
          </a:xfrm>
          <a:prstGeom prst="rect">
            <a:avLst/>
          </a:prstGeom>
        </p:spPr>
      </p:pic>
      <p:sp>
        <p:nvSpPr>
          <p:cNvPr id="56" name="TextBox 55">
            <a:extLst>
              <a:ext uri="{FF2B5EF4-FFF2-40B4-BE49-F238E27FC236}">
                <a16:creationId xmlns:a16="http://schemas.microsoft.com/office/drawing/2014/main" id="{D1DA911E-2543-4267-9A53-323CBA92A296}"/>
              </a:ext>
            </a:extLst>
          </p:cNvPr>
          <p:cNvSpPr txBox="1"/>
          <p:nvPr/>
        </p:nvSpPr>
        <p:spPr>
          <a:xfrm>
            <a:off x="11987052" y="7437446"/>
            <a:ext cx="22018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latin typeface="Verdana" panose="020B0604030504040204" pitchFamily="34" charset="0"/>
                <a:ea typeface="Verdana" panose="020B0604030504040204" pitchFamily="34" charset="0"/>
              </a:rPr>
              <a:t>Теплоснабжающая организация</a:t>
            </a:r>
            <a:endParaRPr lang="ru-RU" sz="14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8DF64A74-D433-4DF8-A59D-C52A386DD803}"/>
              </a:ext>
            </a:extLst>
          </p:cNvPr>
          <p:cNvSpPr txBox="1"/>
          <p:nvPr/>
        </p:nvSpPr>
        <p:spPr>
          <a:xfrm>
            <a:off x="9623433" y="8524265"/>
            <a:ext cx="160095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b="1" dirty="0">
                <a:latin typeface="Verdana" panose="020B0604030504040204" pitchFamily="34" charset="0"/>
                <a:ea typeface="Verdana" panose="020B0604030504040204" pitchFamily="34" charset="0"/>
              </a:rPr>
              <a:t>Источник</a:t>
            </a:r>
            <a:endParaRPr lang="ru-RU" sz="800" b="1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ru-RU" sz="8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14778780" y="9008220"/>
            <a:ext cx="258212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latin typeface="Verdana" panose="020B0604030504040204" pitchFamily="34" charset="0"/>
                <a:ea typeface="Verdana" panose="020B0604030504040204" pitchFamily="34" charset="0"/>
              </a:rPr>
              <a:t>Потребители</a:t>
            </a:r>
            <a:endParaRPr lang="ru-RU" sz="14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59" name="Рисунок 5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749" y="505087"/>
            <a:ext cx="914400" cy="914400"/>
          </a:xfrm>
          <a:prstGeom prst="rect">
            <a:avLst/>
          </a:prstGeom>
        </p:spPr>
      </p:pic>
      <p:sp>
        <p:nvSpPr>
          <p:cNvPr id="62" name="Прямоугольник 61"/>
          <p:cNvSpPr/>
          <p:nvPr/>
        </p:nvSpPr>
        <p:spPr>
          <a:xfrm rot="5400000">
            <a:off x="14474972" y="8163711"/>
            <a:ext cx="812996" cy="49114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4" name="Прямоугольник 63"/>
          <p:cNvSpPr/>
          <p:nvPr/>
        </p:nvSpPr>
        <p:spPr>
          <a:xfrm>
            <a:off x="14879159" y="8403002"/>
            <a:ext cx="270499" cy="4571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803749" y="1662547"/>
            <a:ext cx="1546593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/>
              <a:t>Система — это </a:t>
            </a:r>
            <a:r>
              <a:rPr lang="ru-RU" sz="2000" dirty="0" smtClean="0"/>
              <a:t>множество взаимосвязанных и взаимодействующих элементов, объединенных единством цели и общими целенаправленными правилами взаимоотношений.</a:t>
            </a:r>
            <a:endParaRPr lang="ru-RU" sz="2000" dirty="0"/>
          </a:p>
        </p:txBody>
      </p:sp>
      <p:sp>
        <p:nvSpPr>
          <p:cNvPr id="40" name="Заголовок 2"/>
          <p:cNvSpPr txBox="1">
            <a:spLocks/>
          </p:cNvSpPr>
          <p:nvPr/>
        </p:nvSpPr>
        <p:spPr>
          <a:xfrm>
            <a:off x="803749" y="6212966"/>
            <a:ext cx="12284231" cy="44027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80128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92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</a:pPr>
            <a:r>
              <a:rPr lang="ru-RU" sz="3200" dirty="0" smtClean="0">
                <a:solidFill>
                  <a:srgbClr val="00B05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Система теплоснабжения</a:t>
            </a:r>
            <a:endParaRPr lang="ru-RU" sz="1800" dirty="0">
              <a:solidFill>
                <a:srgbClr val="00B05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41" name="Рисунок 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88720" y="432118"/>
            <a:ext cx="2726372" cy="9856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Овал 3"/>
          <p:cNvSpPr/>
          <p:nvPr/>
        </p:nvSpPr>
        <p:spPr>
          <a:xfrm>
            <a:off x="7149152" y="2819324"/>
            <a:ext cx="685800" cy="62564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Овал 27"/>
          <p:cNvSpPr/>
          <p:nvPr/>
        </p:nvSpPr>
        <p:spPr>
          <a:xfrm>
            <a:off x="8727047" y="3273788"/>
            <a:ext cx="685800" cy="62564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Овал 33"/>
          <p:cNvSpPr/>
          <p:nvPr/>
        </p:nvSpPr>
        <p:spPr>
          <a:xfrm>
            <a:off x="9155495" y="4415570"/>
            <a:ext cx="685800" cy="62564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Овал 34"/>
          <p:cNvSpPr/>
          <p:nvPr/>
        </p:nvSpPr>
        <p:spPr>
          <a:xfrm>
            <a:off x="7492052" y="5059421"/>
            <a:ext cx="685800" cy="62564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Овал 35"/>
          <p:cNvSpPr/>
          <p:nvPr/>
        </p:nvSpPr>
        <p:spPr>
          <a:xfrm>
            <a:off x="6221130" y="4063303"/>
            <a:ext cx="685800" cy="62564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6" name="Прямая соединительная линия 5"/>
          <p:cNvCxnSpPr>
            <a:stCxn id="36" idx="7"/>
            <a:endCxn id="4" idx="3"/>
          </p:cNvCxnSpPr>
          <p:nvPr/>
        </p:nvCxnSpPr>
        <p:spPr>
          <a:xfrm flipV="1">
            <a:off x="6806497" y="3353343"/>
            <a:ext cx="443088" cy="801583"/>
          </a:xfrm>
          <a:prstGeom prst="line">
            <a:avLst/>
          </a:prstGeom>
          <a:ln w="285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>
            <a:stCxn id="4" idx="6"/>
            <a:endCxn id="28" idx="1"/>
          </p:cNvCxnSpPr>
          <p:nvPr/>
        </p:nvCxnSpPr>
        <p:spPr>
          <a:xfrm>
            <a:off x="7834952" y="3132145"/>
            <a:ext cx="992528" cy="233266"/>
          </a:xfrm>
          <a:prstGeom prst="line">
            <a:avLst/>
          </a:prstGeom>
          <a:ln w="285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>
            <a:stCxn id="35" idx="6"/>
            <a:endCxn id="34" idx="3"/>
          </p:cNvCxnSpPr>
          <p:nvPr/>
        </p:nvCxnSpPr>
        <p:spPr>
          <a:xfrm flipV="1">
            <a:off x="8177852" y="4949589"/>
            <a:ext cx="1078076" cy="422653"/>
          </a:xfrm>
          <a:prstGeom prst="line">
            <a:avLst/>
          </a:prstGeom>
          <a:ln w="285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>
            <a:stCxn id="36" idx="5"/>
            <a:endCxn id="35" idx="1"/>
          </p:cNvCxnSpPr>
          <p:nvPr/>
        </p:nvCxnSpPr>
        <p:spPr>
          <a:xfrm>
            <a:off x="6806497" y="4597322"/>
            <a:ext cx="785988" cy="553722"/>
          </a:xfrm>
          <a:prstGeom prst="line">
            <a:avLst/>
          </a:prstGeom>
          <a:ln w="285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>
            <a:stCxn id="28" idx="5"/>
            <a:endCxn id="34" idx="0"/>
          </p:cNvCxnSpPr>
          <p:nvPr/>
        </p:nvCxnSpPr>
        <p:spPr>
          <a:xfrm>
            <a:off x="9312414" y="3807807"/>
            <a:ext cx="185981" cy="607763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единительная линия 49"/>
          <p:cNvCxnSpPr/>
          <p:nvPr/>
        </p:nvCxnSpPr>
        <p:spPr>
          <a:xfrm flipV="1">
            <a:off x="9155495" y="3030583"/>
            <a:ext cx="2068892" cy="522514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Прямая соединительная линия 54"/>
          <p:cNvCxnSpPr/>
          <p:nvPr/>
        </p:nvCxnSpPr>
        <p:spPr>
          <a:xfrm>
            <a:off x="8827480" y="5151044"/>
            <a:ext cx="3268726" cy="40067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0"/>
          <p:cNvSpPr txBox="1"/>
          <p:nvPr/>
        </p:nvSpPr>
        <p:spPr>
          <a:xfrm>
            <a:off x="7439120" y="4003272"/>
            <a:ext cx="14774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/>
              <a:t>СИСТЕМА</a:t>
            </a:r>
          </a:p>
        </p:txBody>
      </p:sp>
      <p:cxnSp>
        <p:nvCxnSpPr>
          <p:cNvPr id="67" name="Прямая соединительная линия 66"/>
          <p:cNvCxnSpPr/>
          <p:nvPr/>
        </p:nvCxnSpPr>
        <p:spPr>
          <a:xfrm flipH="1" flipV="1">
            <a:off x="3762103" y="4300921"/>
            <a:ext cx="2299063" cy="648668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3185946" y="3598829"/>
            <a:ext cx="181573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/>
              <a:t>Системные границы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12171785" y="5412001"/>
            <a:ext cx="30978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/>
              <a:t>Взаимосвязь/взаимодействие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11224387" y="2808149"/>
            <a:ext cx="233591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/>
              <a:t>Элементы системы</a:t>
            </a:r>
          </a:p>
        </p:txBody>
      </p:sp>
    </p:spTree>
    <p:extLst>
      <p:ext uri="{BB962C8B-B14F-4D97-AF65-F5344CB8AC3E}">
        <p14:creationId xmlns:p14="http://schemas.microsoft.com/office/powerpoint/2010/main" val="5570192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Скругленный прямоугольник 74"/>
          <p:cNvSpPr/>
          <p:nvPr/>
        </p:nvSpPr>
        <p:spPr>
          <a:xfrm>
            <a:off x="265659" y="3781462"/>
            <a:ext cx="11105075" cy="4181575"/>
          </a:xfrm>
          <a:prstGeom prst="roundRect">
            <a:avLst/>
          </a:prstGeom>
          <a:solidFill>
            <a:srgbClr val="00B050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id="{A040A74F-C66A-40FC-A036-6A00C87EB3A9}"/>
              </a:ext>
            </a:extLst>
          </p:cNvPr>
          <p:cNvSpPr/>
          <p:nvPr/>
        </p:nvSpPr>
        <p:spPr>
          <a:xfrm>
            <a:off x="4312760" y="1793886"/>
            <a:ext cx="8465349" cy="597659"/>
          </a:xfrm>
          <a:prstGeom prst="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5" name="Прямая со стрелкой 44">
            <a:extLst>
              <a:ext uri="{FF2B5EF4-FFF2-40B4-BE49-F238E27FC236}">
                <a16:creationId xmlns:a16="http://schemas.microsoft.com/office/drawing/2014/main" id="{8C4117E3-F9BD-4990-83C8-F6A44ACB10D0}"/>
              </a:ext>
            </a:extLst>
          </p:cNvPr>
          <p:cNvCxnSpPr>
            <a:cxnSpLocks/>
          </p:cNvCxnSpPr>
          <p:nvPr/>
        </p:nvCxnSpPr>
        <p:spPr>
          <a:xfrm>
            <a:off x="2880795" y="2029101"/>
            <a:ext cx="1308039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grpSp>
        <p:nvGrpSpPr>
          <p:cNvPr id="48" name="Группа 47">
            <a:extLst>
              <a:ext uri="{FF2B5EF4-FFF2-40B4-BE49-F238E27FC236}">
                <a16:creationId xmlns:a16="http://schemas.microsoft.com/office/drawing/2014/main" id="{6AC96AB1-88AC-4D62-958F-20D295ECA303}"/>
              </a:ext>
            </a:extLst>
          </p:cNvPr>
          <p:cNvGrpSpPr/>
          <p:nvPr/>
        </p:nvGrpSpPr>
        <p:grpSpPr>
          <a:xfrm>
            <a:off x="8357441" y="1381336"/>
            <a:ext cx="840167" cy="1136573"/>
            <a:chOff x="6388306" y="1726373"/>
            <a:chExt cx="840167" cy="1200139"/>
          </a:xfrm>
          <a:solidFill>
            <a:srgbClr val="4472C4">
              <a:lumMod val="60000"/>
              <a:lumOff val="40000"/>
            </a:srgbClr>
          </a:solidFill>
        </p:grpSpPr>
        <p:sp>
          <p:nvSpPr>
            <p:cNvPr id="49" name="Прямоугольник 48">
              <a:extLst>
                <a:ext uri="{FF2B5EF4-FFF2-40B4-BE49-F238E27FC236}">
                  <a16:creationId xmlns:a16="http://schemas.microsoft.com/office/drawing/2014/main" id="{D55A241C-0955-446B-B9FD-DC234B700B5D}"/>
                </a:ext>
              </a:extLst>
            </p:cNvPr>
            <p:cNvSpPr/>
            <p:nvPr/>
          </p:nvSpPr>
          <p:spPr>
            <a:xfrm>
              <a:off x="6431490" y="2085635"/>
              <a:ext cx="80278" cy="834647"/>
            </a:xfrm>
            <a:prstGeom prst="rect">
              <a:avLst/>
            </a:prstGeom>
            <a:grpFill/>
            <a:ln w="12700" cap="flat" cmpd="sng" algn="ctr">
              <a:solidFill>
                <a:srgbClr val="4472C4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Прямоугольник 49">
              <a:extLst>
                <a:ext uri="{FF2B5EF4-FFF2-40B4-BE49-F238E27FC236}">
                  <a16:creationId xmlns:a16="http://schemas.microsoft.com/office/drawing/2014/main" id="{9B574444-2817-4D9C-8784-6CF71FABB822}"/>
                </a:ext>
              </a:extLst>
            </p:cNvPr>
            <p:cNvSpPr/>
            <p:nvPr/>
          </p:nvSpPr>
          <p:spPr>
            <a:xfrm>
              <a:off x="7082359" y="2091865"/>
              <a:ext cx="80278" cy="834647"/>
            </a:xfrm>
            <a:prstGeom prst="rect">
              <a:avLst/>
            </a:prstGeom>
            <a:grpFill/>
            <a:ln w="12700" cap="flat" cmpd="sng" algn="ctr">
              <a:solidFill>
                <a:srgbClr val="4472C4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Овал 50">
              <a:extLst>
                <a:ext uri="{FF2B5EF4-FFF2-40B4-BE49-F238E27FC236}">
                  <a16:creationId xmlns:a16="http://schemas.microsoft.com/office/drawing/2014/main" id="{941C9ED5-07B1-4DE7-83C8-A2C9C94F7862}"/>
                </a:ext>
              </a:extLst>
            </p:cNvPr>
            <p:cNvSpPr/>
            <p:nvPr/>
          </p:nvSpPr>
          <p:spPr>
            <a:xfrm>
              <a:off x="6518796" y="2706223"/>
              <a:ext cx="556154" cy="187184"/>
            </a:xfrm>
            <a:prstGeom prst="ellipse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Овал 51">
              <a:extLst>
                <a:ext uri="{FF2B5EF4-FFF2-40B4-BE49-F238E27FC236}">
                  <a16:creationId xmlns:a16="http://schemas.microsoft.com/office/drawing/2014/main" id="{45C11120-FD33-4DC1-83EE-5EA5C59F245D}"/>
                </a:ext>
              </a:extLst>
            </p:cNvPr>
            <p:cNvSpPr/>
            <p:nvPr/>
          </p:nvSpPr>
          <p:spPr>
            <a:xfrm>
              <a:off x="6524264" y="2085635"/>
              <a:ext cx="552646" cy="199668"/>
            </a:xfrm>
            <a:prstGeom prst="ellipse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Прямоугольник 52">
              <a:extLst>
                <a:ext uri="{FF2B5EF4-FFF2-40B4-BE49-F238E27FC236}">
                  <a16:creationId xmlns:a16="http://schemas.microsoft.com/office/drawing/2014/main" id="{39D6F2AD-5FA7-48CA-87E4-E9597FA62066}"/>
                </a:ext>
              </a:extLst>
            </p:cNvPr>
            <p:cNvSpPr/>
            <p:nvPr/>
          </p:nvSpPr>
          <p:spPr>
            <a:xfrm>
              <a:off x="6757718" y="1897314"/>
              <a:ext cx="101344" cy="261257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Прямоугольник 53">
              <a:extLst>
                <a:ext uri="{FF2B5EF4-FFF2-40B4-BE49-F238E27FC236}">
                  <a16:creationId xmlns:a16="http://schemas.microsoft.com/office/drawing/2014/main" id="{40BFE842-0C3A-40CB-B0AF-5C67213BD942}"/>
                </a:ext>
              </a:extLst>
            </p:cNvPr>
            <p:cNvSpPr/>
            <p:nvPr/>
          </p:nvSpPr>
          <p:spPr>
            <a:xfrm>
              <a:off x="6388306" y="1763772"/>
              <a:ext cx="840167" cy="92433"/>
            </a:xfrm>
            <a:prstGeom prst="rect">
              <a:avLst/>
            </a:prstGeom>
            <a:grpFill/>
            <a:ln w="12700" cap="flat" cmpd="sng" algn="ctr">
              <a:solidFill>
                <a:srgbClr val="4472C4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Прямоугольник 54">
              <a:extLst>
                <a:ext uri="{FF2B5EF4-FFF2-40B4-BE49-F238E27FC236}">
                  <a16:creationId xmlns:a16="http://schemas.microsoft.com/office/drawing/2014/main" id="{61959258-FBD0-4BE4-BD23-C14EBBF140DD}"/>
                </a:ext>
              </a:extLst>
            </p:cNvPr>
            <p:cNvSpPr/>
            <p:nvPr/>
          </p:nvSpPr>
          <p:spPr>
            <a:xfrm>
              <a:off x="6785529" y="1726373"/>
              <a:ext cx="45719" cy="18718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56" name="Рисунок 55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AC6C0C97-7062-4B29-821A-D2FE851579A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5499" y="2759794"/>
            <a:ext cx="1040677" cy="205525"/>
          </a:xfrm>
          <a:prstGeom prst="rect">
            <a:avLst/>
          </a:prstGeom>
          <a:noFill/>
        </p:spPr>
      </p:pic>
      <p:pic>
        <p:nvPicPr>
          <p:cNvPr id="57" name="Рисунок 56">
            <a:extLst>
              <a:ext uri="{FF2B5EF4-FFF2-40B4-BE49-F238E27FC236}">
                <a16:creationId xmlns:a16="http://schemas.microsoft.com/office/drawing/2014/main" id="{4BF95A50-A075-4D8B-A4CB-B51363F34C9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16542" y="2516299"/>
            <a:ext cx="228132" cy="293080"/>
          </a:xfrm>
          <a:prstGeom prst="rect">
            <a:avLst/>
          </a:prstGeom>
          <a:noFill/>
        </p:spPr>
      </p:pic>
      <p:cxnSp>
        <p:nvCxnSpPr>
          <p:cNvPr id="58" name="Соединитель: изогнутый 1036">
            <a:extLst>
              <a:ext uri="{FF2B5EF4-FFF2-40B4-BE49-F238E27FC236}">
                <a16:creationId xmlns:a16="http://schemas.microsoft.com/office/drawing/2014/main" id="{951FAE7E-614E-437D-A6E8-D5CD9CB279A7}"/>
              </a:ext>
            </a:extLst>
          </p:cNvPr>
          <p:cNvCxnSpPr>
            <a:cxnSpLocks/>
          </p:cNvCxnSpPr>
          <p:nvPr/>
        </p:nvCxnSpPr>
        <p:spPr>
          <a:xfrm rot="10800000" flipV="1">
            <a:off x="8811416" y="2569856"/>
            <a:ext cx="215852" cy="166272"/>
          </a:xfrm>
          <a:prstGeom prst="curvedConnector3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59" name="Соединитель: изогнутый 80">
            <a:extLst>
              <a:ext uri="{FF2B5EF4-FFF2-40B4-BE49-F238E27FC236}">
                <a16:creationId xmlns:a16="http://schemas.microsoft.com/office/drawing/2014/main" id="{DBD3EB99-DFD3-4178-8E26-FD83F3E05006}"/>
              </a:ext>
            </a:extLst>
          </p:cNvPr>
          <p:cNvCxnSpPr>
            <a:cxnSpLocks/>
          </p:cNvCxnSpPr>
          <p:nvPr/>
        </p:nvCxnSpPr>
        <p:spPr>
          <a:xfrm>
            <a:off x="9261617" y="2585580"/>
            <a:ext cx="93431" cy="161369"/>
          </a:xfrm>
          <a:prstGeom prst="curvedConnector2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pic>
        <p:nvPicPr>
          <p:cNvPr id="60" name="Рисунок 59">
            <a:extLst>
              <a:ext uri="{FF2B5EF4-FFF2-40B4-BE49-F238E27FC236}">
                <a16:creationId xmlns:a16="http://schemas.microsoft.com/office/drawing/2014/main" id="{57B80D40-4AFE-4074-B183-77F19433B2E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90947" y="1315023"/>
            <a:ext cx="580884" cy="514212"/>
          </a:xfrm>
          <a:prstGeom prst="rect">
            <a:avLst/>
          </a:prstGeom>
        </p:spPr>
      </p:pic>
      <p:cxnSp>
        <p:nvCxnSpPr>
          <p:cNvPr id="61" name="Соединитель: изогнутый 91">
            <a:extLst>
              <a:ext uri="{FF2B5EF4-FFF2-40B4-BE49-F238E27FC236}">
                <a16:creationId xmlns:a16="http://schemas.microsoft.com/office/drawing/2014/main" id="{12FC1CB0-8DE0-455B-82E8-CF9DD31264CD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12225611" y="1608093"/>
            <a:ext cx="296989" cy="89602"/>
          </a:xfrm>
          <a:prstGeom prst="curvedConnector3">
            <a:avLst>
              <a:gd name="adj1" fmla="val 44134"/>
            </a:avLst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2" name="Соединитель: изогнутый 93">
            <a:extLst>
              <a:ext uri="{FF2B5EF4-FFF2-40B4-BE49-F238E27FC236}">
                <a16:creationId xmlns:a16="http://schemas.microsoft.com/office/drawing/2014/main" id="{0E7B0E96-7D5B-4656-8F02-47D88CE58724}"/>
              </a:ext>
            </a:extLst>
          </p:cNvPr>
          <p:cNvCxnSpPr>
            <a:cxnSpLocks/>
          </p:cNvCxnSpPr>
          <p:nvPr/>
        </p:nvCxnSpPr>
        <p:spPr>
          <a:xfrm rot="16200000" flipV="1">
            <a:off x="11748350" y="1627720"/>
            <a:ext cx="240313" cy="88356"/>
          </a:xfrm>
          <a:prstGeom prst="curvedConnector3">
            <a:avLst>
              <a:gd name="adj1" fmla="val 51762"/>
            </a:avLst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63" name="TextBox 62">
            <a:extLst>
              <a:ext uri="{FF2B5EF4-FFF2-40B4-BE49-F238E27FC236}">
                <a16:creationId xmlns:a16="http://schemas.microsoft.com/office/drawing/2014/main" id="{E6C27252-DED1-AFD6-B4A0-E0AD60F81291}"/>
              </a:ext>
            </a:extLst>
          </p:cNvPr>
          <p:cNvSpPr txBox="1"/>
          <p:nvPr/>
        </p:nvSpPr>
        <p:spPr>
          <a:xfrm>
            <a:off x="9096182" y="1972910"/>
            <a:ext cx="1877074" cy="261610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defTabSz="914400"/>
            <a:r>
              <a:rPr lang="ru-RU" sz="1100" b="1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Распределительные</a:t>
            </a:r>
            <a:endParaRPr lang="ru-RU" sz="1100" b="1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4" name="Прямоугольник 63">
            <a:extLst>
              <a:ext uri="{FF2B5EF4-FFF2-40B4-BE49-F238E27FC236}">
                <a16:creationId xmlns:a16="http://schemas.microsoft.com/office/drawing/2014/main" id="{0DAC4050-61B2-B816-3162-7AAB3EE4BD9A}"/>
              </a:ext>
            </a:extLst>
          </p:cNvPr>
          <p:cNvSpPr/>
          <p:nvPr/>
        </p:nvSpPr>
        <p:spPr>
          <a:xfrm>
            <a:off x="4327400" y="1790642"/>
            <a:ext cx="3592478" cy="597659"/>
          </a:xfrm>
          <a:prstGeom prst="rect">
            <a:avLst/>
          </a:prstGeom>
          <a:solidFill>
            <a:srgbClr val="70AD47">
              <a:lumMod val="40000"/>
              <a:lumOff val="60000"/>
            </a:srgbClr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5" name="Овал 64">
            <a:extLst>
              <a:ext uri="{FF2B5EF4-FFF2-40B4-BE49-F238E27FC236}">
                <a16:creationId xmlns:a16="http://schemas.microsoft.com/office/drawing/2014/main" id="{497021BF-EFDD-4893-893A-6509A980AF0E}"/>
              </a:ext>
            </a:extLst>
          </p:cNvPr>
          <p:cNvSpPr/>
          <p:nvPr/>
        </p:nvSpPr>
        <p:spPr>
          <a:xfrm>
            <a:off x="4240815" y="1798885"/>
            <a:ext cx="144867" cy="588136"/>
          </a:xfrm>
          <a:prstGeom prst="ellipse">
            <a:avLst/>
          </a:prstGeom>
          <a:solidFill>
            <a:srgbClr val="E7E6E6">
              <a:lumMod val="90000"/>
            </a:srgbClr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6" name="Овал 65">
            <a:extLst>
              <a:ext uri="{FF2B5EF4-FFF2-40B4-BE49-F238E27FC236}">
                <a16:creationId xmlns:a16="http://schemas.microsoft.com/office/drawing/2014/main" id="{261E1EF0-1446-41B2-BF2E-F53BB5EBAE2E}"/>
              </a:ext>
            </a:extLst>
          </p:cNvPr>
          <p:cNvSpPr/>
          <p:nvPr/>
        </p:nvSpPr>
        <p:spPr>
          <a:xfrm>
            <a:off x="7821094" y="1781558"/>
            <a:ext cx="188318" cy="613160"/>
          </a:xfrm>
          <a:prstGeom prst="ellipse">
            <a:avLst/>
          </a:prstGeom>
          <a:solidFill>
            <a:srgbClr val="4472C4">
              <a:lumMod val="60000"/>
              <a:lumOff val="40000"/>
            </a:srgbClr>
          </a:solidFill>
          <a:ln w="28575" cap="flat" cmpd="sng" algn="ctr">
            <a:solidFill>
              <a:srgbClr val="4472C4">
                <a:shade val="50000"/>
              </a:srgbClr>
            </a:solidFill>
            <a:prstDash val="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8" name="Овал 67">
            <a:extLst>
              <a:ext uri="{FF2B5EF4-FFF2-40B4-BE49-F238E27FC236}">
                <a16:creationId xmlns:a16="http://schemas.microsoft.com/office/drawing/2014/main" id="{0F132F84-0D85-4BDD-8E7C-1C4A2511FBE5}"/>
              </a:ext>
            </a:extLst>
          </p:cNvPr>
          <p:cNvSpPr/>
          <p:nvPr/>
        </p:nvSpPr>
        <p:spPr>
          <a:xfrm>
            <a:off x="12691637" y="1793886"/>
            <a:ext cx="183194" cy="597659"/>
          </a:xfrm>
          <a:prstGeom prst="ellipse">
            <a:avLst/>
          </a:prstGeom>
          <a:solidFill>
            <a:srgbClr val="8FAADC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7A4B558E-A62E-49CA-957F-EE9CB9C4E024}"/>
              </a:ext>
            </a:extLst>
          </p:cNvPr>
          <p:cNvSpPr txBox="1"/>
          <p:nvPr/>
        </p:nvSpPr>
        <p:spPr>
          <a:xfrm>
            <a:off x="5137880" y="1962281"/>
            <a:ext cx="1784114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defTabSz="914400"/>
            <a:r>
              <a:rPr lang="ru-RU" sz="1200" b="1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Магистральные</a:t>
            </a:r>
            <a:endParaRPr lang="ru-RU" sz="1200" b="1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78" name="Рисунок 77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7260E218-416A-28C5-3068-0EADABD2B86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0244" y="1787891"/>
            <a:ext cx="432097" cy="210487"/>
          </a:xfrm>
          <a:prstGeom prst="rect">
            <a:avLst/>
          </a:prstGeom>
        </p:spPr>
      </p:pic>
      <p:cxnSp>
        <p:nvCxnSpPr>
          <p:cNvPr id="81" name="Прямая со стрелкой 80">
            <a:extLst>
              <a:ext uri="{FF2B5EF4-FFF2-40B4-BE49-F238E27FC236}">
                <a16:creationId xmlns:a16="http://schemas.microsoft.com/office/drawing/2014/main" id="{38AA49D8-5296-457B-8ED3-1515B8427521}"/>
              </a:ext>
            </a:extLst>
          </p:cNvPr>
          <p:cNvCxnSpPr>
            <a:cxnSpLocks/>
          </p:cNvCxnSpPr>
          <p:nvPr/>
        </p:nvCxnSpPr>
        <p:spPr>
          <a:xfrm>
            <a:off x="12800204" y="2127279"/>
            <a:ext cx="131895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2" name="TextBox 81">
            <a:extLst>
              <a:ext uri="{FF2B5EF4-FFF2-40B4-BE49-F238E27FC236}">
                <a16:creationId xmlns:a16="http://schemas.microsoft.com/office/drawing/2014/main" id="{57D5DD29-CFAB-4EBC-94E8-F1E9F339FD65}"/>
              </a:ext>
            </a:extLst>
          </p:cNvPr>
          <p:cNvSpPr txBox="1"/>
          <p:nvPr/>
        </p:nvSpPr>
        <p:spPr>
          <a:xfrm>
            <a:off x="13047806" y="1365938"/>
            <a:ext cx="1397393" cy="430887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Отпуск потребителям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21ABCA3F-F317-AAB6-A1A4-1D93F26FB85C}"/>
              </a:ext>
            </a:extLst>
          </p:cNvPr>
          <p:cNvSpPr txBox="1"/>
          <p:nvPr/>
        </p:nvSpPr>
        <p:spPr>
          <a:xfrm>
            <a:off x="2596118" y="1272047"/>
            <a:ext cx="1688317" cy="600164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Отпущено источниками в тепловую сеть</a:t>
            </a:r>
          </a:p>
        </p:txBody>
      </p:sp>
      <p:sp>
        <p:nvSpPr>
          <p:cNvPr id="85" name="Прямоугольник 84"/>
          <p:cNvSpPr/>
          <p:nvPr/>
        </p:nvSpPr>
        <p:spPr>
          <a:xfrm>
            <a:off x="455776" y="3848187"/>
            <a:ext cx="10914958" cy="39241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28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553 </a:t>
            </a:r>
            <a:r>
              <a:rPr lang="ru-RU" sz="28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км </a:t>
            </a:r>
            <a:r>
              <a:rPr lang="ru-RU" sz="28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распределительных сетей </a:t>
            </a:r>
            <a:r>
              <a:rPr lang="ru-RU" sz="28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 неудовлетворительном </a:t>
            </a:r>
            <a:r>
              <a:rPr lang="ru-RU" sz="28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остоянии</a:t>
            </a:r>
            <a:r>
              <a:rPr lang="en-US" sz="28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28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Неисполнение инвестиционной программы на протяжении 10 лет</a:t>
            </a:r>
            <a:r>
              <a:rPr lang="en-US" sz="28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ru-RU" sz="2800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500 шт. не </a:t>
            </a:r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странённых повреждений</a:t>
            </a:r>
            <a:r>
              <a:rPr lang="en-US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дача в тепловую сеть «сырой</a:t>
            </a:r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» </a:t>
            </a: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еподготовленный воды</a:t>
            </a:r>
            <a:r>
              <a:rPr lang="en-US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28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На </a:t>
            </a:r>
            <a:r>
              <a:rPr lang="ru-RU" sz="28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85% </a:t>
            </a:r>
            <a:r>
              <a:rPr lang="ru-RU" sz="28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трубопроводов </a:t>
            </a:r>
            <a:r>
              <a:rPr lang="ru-RU" sz="28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отсутствует тепловая изоляции</a:t>
            </a:r>
            <a:r>
              <a:rPr lang="en-US" sz="28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ru-RU" sz="2800" dirty="0" smtClean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28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Общая величина подпитки тепловой сети 2400 т/ч, при нормативе 913 т</a:t>
            </a:r>
            <a:r>
              <a:rPr lang="en-US" sz="28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/</a:t>
            </a:r>
            <a:r>
              <a:rPr lang="ru-RU" sz="28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ч</a:t>
            </a:r>
            <a:endParaRPr lang="ru-RU" sz="2800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1" name="Заголовок 2"/>
          <p:cNvSpPr txBox="1">
            <a:spLocks/>
          </p:cNvSpPr>
          <p:nvPr/>
        </p:nvSpPr>
        <p:spPr>
          <a:xfrm>
            <a:off x="1476041" y="572906"/>
            <a:ext cx="12284231" cy="44027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80128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92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</a:pPr>
            <a:r>
              <a:rPr lang="ru-RU" sz="3200" dirty="0" smtClean="0">
                <a:solidFill>
                  <a:srgbClr val="00B05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Состояние на 30.10.2024</a:t>
            </a:r>
            <a:endParaRPr lang="ru-RU" sz="1800" dirty="0">
              <a:solidFill>
                <a:srgbClr val="00B05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42" name="Рисунок 4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869" y="106887"/>
            <a:ext cx="914400" cy="914400"/>
          </a:xfrm>
          <a:prstGeom prst="rect">
            <a:avLst/>
          </a:prstGeom>
        </p:spPr>
      </p:pic>
      <p:pic>
        <p:nvPicPr>
          <p:cNvPr id="47" name="Рисунок 46">
            <a:extLst>
              <a:ext uri="{FF2B5EF4-FFF2-40B4-BE49-F238E27FC236}">
                <a16:creationId xmlns:a16="http://schemas.microsoft.com/office/drawing/2014/main" id="{18DD483E-60FD-493F-8F08-A2A91EF7CD6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16199" y="314174"/>
            <a:ext cx="2080546" cy="750848"/>
          </a:xfrm>
          <a:prstGeom prst="rect">
            <a:avLst/>
          </a:prstGeom>
        </p:spPr>
      </p:pic>
      <p:pic>
        <p:nvPicPr>
          <p:cNvPr id="76" name="Рисунок 7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662" y="1035223"/>
            <a:ext cx="2059968" cy="2095986"/>
          </a:xfrm>
          <a:prstGeom prst="rect">
            <a:avLst/>
          </a:prstGeom>
        </p:spPr>
      </p:pic>
      <p:pic>
        <p:nvPicPr>
          <p:cNvPr id="77" name="Рисунок 76" descr="6.png"/>
          <p:cNvPicPr>
            <a:picLocks noChangeAspect="1"/>
          </p:cNvPicPr>
          <p:nvPr/>
        </p:nvPicPr>
        <p:blipFill>
          <a:blip r:embed="rId9" cstate="print"/>
          <a:srcRect l="5212" r="4363"/>
          <a:stretch>
            <a:fillRect/>
          </a:stretch>
        </p:blipFill>
        <p:spPr>
          <a:xfrm>
            <a:off x="14058253" y="1209878"/>
            <a:ext cx="1587344" cy="1755441"/>
          </a:xfrm>
          <a:prstGeom prst="rect">
            <a:avLst/>
          </a:prstGeom>
        </p:spPr>
      </p:pic>
      <p:pic>
        <p:nvPicPr>
          <p:cNvPr id="80" name="Рисунок 79">
            <a:extLst>
              <a:ext uri="{FF2B5EF4-FFF2-40B4-BE49-F238E27FC236}">
                <a16:creationId xmlns:a16="http://schemas.microsoft.com/office/drawing/2014/main" id="{1E6ABEC6-866C-4E1C-B204-7D0DC8527E5F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9320"/>
          <a:stretch/>
        </p:blipFill>
        <p:spPr>
          <a:xfrm>
            <a:off x="13746502" y="4776909"/>
            <a:ext cx="2883027" cy="4459358"/>
          </a:xfrm>
          <a:prstGeom prst="rect">
            <a:avLst/>
          </a:prstGeom>
        </p:spPr>
      </p:pic>
      <p:pic>
        <p:nvPicPr>
          <p:cNvPr id="46" name="Рисунок 45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88633" y="3521555"/>
            <a:ext cx="2772396" cy="3942481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1813619" y="1803220"/>
            <a:ext cx="637624" cy="242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9502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Скругленный прямоугольник 10"/>
          <p:cNvSpPr/>
          <p:nvPr/>
        </p:nvSpPr>
        <p:spPr>
          <a:xfrm>
            <a:off x="142394" y="1500695"/>
            <a:ext cx="10374723" cy="5391705"/>
          </a:xfrm>
          <a:prstGeom prst="roundRect">
            <a:avLst/>
          </a:prstGeom>
          <a:solidFill>
            <a:srgbClr val="00B050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542415" y="408754"/>
            <a:ext cx="15526385" cy="1225065"/>
          </a:xfrm>
        </p:spPr>
        <p:txBody>
          <a:bodyPr/>
          <a:lstStyle/>
          <a:p>
            <a:r>
              <a:rPr lang="ru-RU" sz="3200" dirty="0" smtClean="0">
                <a:solidFill>
                  <a:srgbClr val="00B05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ущее состояние</a:t>
            </a:r>
            <a:br>
              <a:rPr lang="ru-RU" sz="3200" dirty="0" smtClean="0">
                <a:solidFill>
                  <a:srgbClr val="00B050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ru-RU" sz="2000" dirty="0">
              <a:solidFill>
                <a:srgbClr val="00B05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85692" y="1351784"/>
            <a:ext cx="10296900" cy="58503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buClr>
                <a:schemeClr val="accent6"/>
              </a:buClr>
            </a:pPr>
            <a:endParaRPr lang="ru-RU" sz="2000" b="1" dirty="0" smtClean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spcAft>
                <a:spcPts val="600"/>
              </a:spcAft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ru-RU" sz="24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одача в сеть «сырой» воды прекращена в декабре 2024 года</a:t>
            </a:r>
            <a:r>
              <a:rPr lang="en-US" sz="24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ru-RU" sz="2400" dirty="0" smtClean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spcAft>
                <a:spcPts val="600"/>
              </a:spcAft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ru-RU" sz="24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Гидравлические испытания на прочность и плотность выполнены в полном объеме.</a:t>
            </a:r>
          </a:p>
          <a:p>
            <a:pPr marL="285750" indent="-285750">
              <a:spcAft>
                <a:spcPts val="600"/>
              </a:spcAft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ru-RU" sz="24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одпитка тепловой сети снижена до нормативной.</a:t>
            </a:r>
          </a:p>
          <a:p>
            <a:pPr marL="285750" indent="-285750">
              <a:spcAft>
                <a:spcPts val="600"/>
              </a:spcAft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ru-RU" sz="24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осстановлена изоляция на 1</a:t>
            </a:r>
            <a:r>
              <a:rPr lang="en-US" sz="24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1,3</a:t>
            </a:r>
            <a:r>
              <a:rPr lang="ru-RU" sz="24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км тепловых сетей (в двухтрубном исчислении).</a:t>
            </a:r>
          </a:p>
          <a:p>
            <a:pPr marL="285750" indent="-285750">
              <a:spcAft>
                <a:spcPts val="600"/>
              </a:spcAft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ru-RU" sz="24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На 95% укомплектован штат.</a:t>
            </a:r>
          </a:p>
          <a:p>
            <a:pPr marL="285750" indent="-285750">
              <a:spcAft>
                <a:spcPts val="600"/>
              </a:spcAft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ru-RU" sz="24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Мероприятия инвестиционной программы на 2024, 2025 годы выполнены</a:t>
            </a:r>
            <a:r>
              <a:rPr lang="en-US" sz="24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ru-RU" sz="24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 marL="285750" indent="-285750">
              <a:spcAft>
                <a:spcPts val="600"/>
              </a:spcAft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ru-RU" sz="24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Идет подготовка к реализации мероприятий инвестиционной программы на 2026 год. Разрабатываются мероприятия для инвестиционной программы на 2027-2028 гг.</a:t>
            </a:r>
          </a:p>
          <a:p>
            <a:pPr marL="285750" indent="-285750">
              <a:spcAft>
                <a:spcPts val="600"/>
              </a:spcAft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ru-RU" sz="24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одпитка по состоянию на 10.03.2025- 845 т/ч, норматив-913 т/ч</a:t>
            </a:r>
          </a:p>
          <a:p>
            <a:pPr marL="285750" indent="-285750"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ü"/>
            </a:pPr>
            <a:endParaRPr lang="ru-RU" dirty="0" smtClean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869" y="106887"/>
            <a:ext cx="914400" cy="914400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18DD483E-60FD-493F-8F08-A2A91EF7CD6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17656" y="408754"/>
            <a:ext cx="2080546" cy="750848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65529" y="1223378"/>
            <a:ext cx="3148657" cy="3092330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676"/>
          <a:stretch/>
        </p:blipFill>
        <p:spPr>
          <a:xfrm>
            <a:off x="13840810" y="4512739"/>
            <a:ext cx="3173376" cy="3420528"/>
          </a:xfrm>
          <a:prstGeom prst="rect">
            <a:avLst/>
          </a:prstGeom>
        </p:spPr>
      </p:pic>
      <p:sp>
        <p:nvSpPr>
          <p:cNvPr id="13" name="Заголовок 2"/>
          <p:cNvSpPr txBox="1">
            <a:spLocks/>
          </p:cNvSpPr>
          <p:nvPr/>
        </p:nvSpPr>
        <p:spPr>
          <a:xfrm>
            <a:off x="1007123" y="7874639"/>
            <a:ext cx="15526385" cy="10087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80128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92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200" dirty="0" smtClean="0">
                <a:solidFill>
                  <a:srgbClr val="00B05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Все хорошо - работаем дальше?</a:t>
            </a:r>
            <a:endParaRPr lang="ru-RU" sz="3200" dirty="0">
              <a:solidFill>
                <a:srgbClr val="00B05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3389" y="1202574"/>
            <a:ext cx="3090420" cy="3133938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8" t="-2516" r="20207" b="691"/>
          <a:stretch/>
        </p:blipFill>
        <p:spPr>
          <a:xfrm rot="16200000">
            <a:off x="10434627" y="4660704"/>
            <a:ext cx="3427148" cy="3131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6052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Скругленный прямоугольник 49"/>
          <p:cNvSpPr/>
          <p:nvPr/>
        </p:nvSpPr>
        <p:spPr>
          <a:xfrm>
            <a:off x="746479" y="6456495"/>
            <a:ext cx="2172706" cy="77458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" name="Скругленный прямоугольник 48"/>
          <p:cNvSpPr/>
          <p:nvPr/>
        </p:nvSpPr>
        <p:spPr>
          <a:xfrm>
            <a:off x="7767436" y="7533116"/>
            <a:ext cx="2834165" cy="77458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Скругленный прямоугольник 46"/>
          <p:cNvSpPr/>
          <p:nvPr/>
        </p:nvSpPr>
        <p:spPr>
          <a:xfrm>
            <a:off x="7722763" y="6537718"/>
            <a:ext cx="2808808" cy="66851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" name="Скругленный прямоугольник 47"/>
          <p:cNvSpPr/>
          <p:nvPr/>
        </p:nvSpPr>
        <p:spPr>
          <a:xfrm>
            <a:off x="6249937" y="5613292"/>
            <a:ext cx="2193666" cy="66851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Скругленный прямоугольник 45"/>
          <p:cNvSpPr/>
          <p:nvPr/>
        </p:nvSpPr>
        <p:spPr>
          <a:xfrm>
            <a:off x="2697896" y="5733889"/>
            <a:ext cx="1772603" cy="66851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3" name="Скругленный прямоугольник 42"/>
          <p:cNvSpPr/>
          <p:nvPr/>
        </p:nvSpPr>
        <p:spPr>
          <a:xfrm>
            <a:off x="3593965" y="8144098"/>
            <a:ext cx="3705392" cy="77458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Скругленный прямоугольник 39"/>
          <p:cNvSpPr/>
          <p:nvPr/>
        </p:nvSpPr>
        <p:spPr>
          <a:xfrm>
            <a:off x="161196" y="7507487"/>
            <a:ext cx="3199450" cy="77458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TextBox 21"/>
          <p:cNvSpPr txBox="1"/>
          <p:nvPr/>
        </p:nvSpPr>
        <p:spPr>
          <a:xfrm>
            <a:off x="151060" y="7468787"/>
            <a:ext cx="329053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/>
              <a:t>Покупная </a:t>
            </a:r>
            <a:r>
              <a:rPr lang="ru-RU" sz="1600" b="1" dirty="0"/>
              <a:t>т</a:t>
            </a:r>
            <a:r>
              <a:rPr lang="ru-RU" sz="1600" b="1" dirty="0" smtClean="0"/>
              <a:t>епловая энергия для перепродажи, включая, </a:t>
            </a:r>
            <a:r>
              <a:rPr lang="ru-RU" sz="1600" b="1" dirty="0" smtClean="0">
                <a:solidFill>
                  <a:srgbClr val="FF0000"/>
                </a:solidFill>
              </a:rPr>
              <a:t>сверхнормативные потери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11589741" y="6795481"/>
            <a:ext cx="4517366" cy="233172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485869" y="1182259"/>
            <a:ext cx="16147842" cy="2995223"/>
          </a:xfrm>
          <a:prstGeom prst="roundRect">
            <a:avLst/>
          </a:prstGeom>
          <a:solidFill>
            <a:srgbClr val="00B050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771216" y="1229589"/>
            <a:ext cx="16531535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sz="2000" b="1" dirty="0" smtClean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верхнормативные потери никуда не делись – это прямой убыток АО «УСТЭК-Челябинск»</a:t>
            </a:r>
            <a:r>
              <a:rPr lang="en-US" sz="2000" b="1" dirty="0" smtClean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!</a:t>
            </a:r>
            <a:endParaRPr lang="ru-RU" sz="2000" b="1" dirty="0" smtClean="0">
              <a:solidFill>
                <a:srgbClr val="FF0000"/>
              </a:solidFill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Tx/>
              <a:buChar char="-"/>
            </a:pPr>
            <a:r>
              <a:rPr lang="ru-RU" sz="20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АО «УСТЭК-Челябинск» устраняет 10-15 повреждений в день на арендованном имуществе – теплоноситель вместе с теплом утекает.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sz="20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- </a:t>
            </a:r>
            <a:r>
              <a:rPr lang="ru-RU" sz="20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Объем замены тепловой изоляции </a:t>
            </a:r>
            <a:r>
              <a:rPr lang="ru-RU" sz="20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недостаточен, ввиду ограничения </a:t>
            </a:r>
            <a:r>
              <a:rPr lang="ru-RU" sz="20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 финансовых </a:t>
            </a:r>
            <a:r>
              <a:rPr lang="ru-RU" sz="20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озможностях.</a:t>
            </a:r>
            <a:endParaRPr lang="ru-RU" sz="2000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sz="20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Ежегодная замена изоляции на 2% сетей от общего количества переданных в аренду недостаточно уменьшает потери тепловой энергии</a:t>
            </a:r>
            <a:r>
              <a:rPr lang="ru-RU" sz="20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sz="20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- Коммерческие </a:t>
            </a:r>
            <a:r>
              <a:rPr lang="ru-RU" sz="20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отери связанные с особенностями жилищного законодательства по </a:t>
            </a:r>
            <a:r>
              <a:rPr lang="ru-RU" sz="20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расчетам.</a:t>
            </a:r>
          </a:p>
        </p:txBody>
      </p:sp>
      <p:sp>
        <p:nvSpPr>
          <p:cNvPr id="7" name="Заголовок 2"/>
          <p:cNvSpPr txBox="1">
            <a:spLocks/>
          </p:cNvSpPr>
          <p:nvPr/>
        </p:nvSpPr>
        <p:spPr>
          <a:xfrm>
            <a:off x="1542415" y="476479"/>
            <a:ext cx="15526385" cy="10087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80128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92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200" dirty="0" smtClean="0">
                <a:solidFill>
                  <a:srgbClr val="00B05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Сверхнормативные потери</a:t>
            </a:r>
            <a:endParaRPr lang="ru-RU" sz="3200" dirty="0">
              <a:solidFill>
                <a:srgbClr val="00B05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869" y="106887"/>
            <a:ext cx="914400" cy="914400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18DD483E-60FD-493F-8F08-A2A91EF7CD6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53165" y="270439"/>
            <a:ext cx="2080546" cy="750848"/>
          </a:xfrm>
          <a:prstGeom prst="rect">
            <a:avLst/>
          </a:prstGeom>
        </p:spPr>
      </p:pic>
      <p:sp>
        <p:nvSpPr>
          <p:cNvPr id="13" name="Прямоугольник 12"/>
          <p:cNvSpPr/>
          <p:nvPr/>
        </p:nvSpPr>
        <p:spPr>
          <a:xfrm>
            <a:off x="11003050" y="5126554"/>
            <a:ext cx="588004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опоставимо с объемами годовой ИП</a:t>
            </a:r>
            <a:endParaRPr lang="ru-RU" sz="2400" dirty="0"/>
          </a:p>
        </p:txBody>
      </p:sp>
      <p:sp>
        <p:nvSpPr>
          <p:cNvPr id="15" name="TextBox 14"/>
          <p:cNvSpPr txBox="1"/>
          <p:nvPr/>
        </p:nvSpPr>
        <p:spPr>
          <a:xfrm>
            <a:off x="11598701" y="6837962"/>
            <a:ext cx="4499447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верхнормативные потери </a:t>
            </a:r>
            <a:r>
              <a:rPr lang="ru-RU" sz="2800" b="1" u="sng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не включаются в </a:t>
            </a:r>
            <a:r>
              <a:rPr lang="ru-RU" sz="2800" b="1" u="sng" dirty="0" smtClean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тариф! </a:t>
            </a:r>
          </a:p>
          <a:p>
            <a:pPr algn="ctr"/>
            <a:r>
              <a:rPr lang="ru-RU" sz="2800" b="1" u="sng" dirty="0" smtClean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НО, вынужденно приобретаются ЕТО на коллекторах ТЭЦ</a:t>
            </a:r>
            <a:endParaRPr lang="ru-RU" sz="2800" b="1" u="sng" dirty="0">
              <a:solidFill>
                <a:srgbClr val="FF0000"/>
              </a:solidFill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4069251" y="6631926"/>
            <a:ext cx="2663825" cy="94015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17" name="TextBox 16"/>
          <p:cNvSpPr txBox="1"/>
          <p:nvPr/>
        </p:nvSpPr>
        <p:spPr>
          <a:xfrm>
            <a:off x="4251097" y="6753434"/>
            <a:ext cx="22942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800" b="1" dirty="0" smtClean="0"/>
              <a:t>Финансовые потоки ЕТО</a:t>
            </a:r>
          </a:p>
        </p:txBody>
      </p:sp>
      <p:cxnSp>
        <p:nvCxnSpPr>
          <p:cNvPr id="18" name="Прямая со стрелкой 17"/>
          <p:cNvCxnSpPr/>
          <p:nvPr/>
        </p:nvCxnSpPr>
        <p:spPr>
          <a:xfrm flipH="1">
            <a:off x="2888965" y="6908338"/>
            <a:ext cx="1177111" cy="1"/>
          </a:xfrm>
          <a:prstGeom prst="straightConnector1">
            <a:avLst/>
          </a:prstGeom>
          <a:ln w="3810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 стрелкой 19"/>
          <p:cNvCxnSpPr/>
          <p:nvPr/>
        </p:nvCxnSpPr>
        <p:spPr>
          <a:xfrm flipH="1">
            <a:off x="3354281" y="7533116"/>
            <a:ext cx="708620" cy="192891"/>
          </a:xfrm>
          <a:prstGeom prst="straightConnector1">
            <a:avLst/>
          </a:prstGeom>
          <a:ln w="3810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7775036" y="7520330"/>
            <a:ext cx="283154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FF0000"/>
                </a:solidFill>
              </a:rPr>
              <a:t>Обслуживание займов, в связи с недостатком средств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7761126" y="6720213"/>
            <a:ext cx="2856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Газ, электроэнергия, вода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2548389" y="5768967"/>
            <a:ext cx="21748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/>
              <a:t>Ремонт оборудования</a:t>
            </a:r>
          </a:p>
        </p:txBody>
      </p:sp>
      <p:cxnSp>
        <p:nvCxnSpPr>
          <p:cNvPr id="27" name="Прямая со стрелкой 26"/>
          <p:cNvCxnSpPr>
            <a:stCxn id="33" idx="0"/>
            <a:endCxn id="16" idx="2"/>
          </p:cNvCxnSpPr>
          <p:nvPr/>
        </p:nvCxnSpPr>
        <p:spPr>
          <a:xfrm flipH="1" flipV="1">
            <a:off x="5401164" y="7572085"/>
            <a:ext cx="16798" cy="560573"/>
          </a:xfrm>
          <a:prstGeom prst="straightConnector1">
            <a:avLst/>
          </a:prstGeom>
          <a:ln w="57150"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664145" y="6578610"/>
            <a:ext cx="24038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/>
              <a:t>Заработная плата, налоги</a:t>
            </a:r>
          </a:p>
        </p:txBody>
      </p:sp>
      <p:cxnSp>
        <p:nvCxnSpPr>
          <p:cNvPr id="29" name="Прямая со стрелкой 28"/>
          <p:cNvCxnSpPr>
            <a:stCxn id="16" idx="0"/>
          </p:cNvCxnSpPr>
          <p:nvPr/>
        </p:nvCxnSpPr>
        <p:spPr>
          <a:xfrm flipH="1" flipV="1">
            <a:off x="4470500" y="6241880"/>
            <a:ext cx="930664" cy="390046"/>
          </a:xfrm>
          <a:prstGeom prst="straightConnector1">
            <a:avLst/>
          </a:prstGeom>
          <a:ln w="3810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 стрелкой 30"/>
          <p:cNvCxnSpPr/>
          <p:nvPr/>
        </p:nvCxnSpPr>
        <p:spPr>
          <a:xfrm>
            <a:off x="6765712" y="6862496"/>
            <a:ext cx="1047745" cy="0"/>
          </a:xfrm>
          <a:prstGeom prst="straightConnector1">
            <a:avLst/>
          </a:prstGeom>
          <a:ln w="3810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 стрелкой 31"/>
          <p:cNvCxnSpPr/>
          <p:nvPr/>
        </p:nvCxnSpPr>
        <p:spPr>
          <a:xfrm>
            <a:off x="6736251" y="7533116"/>
            <a:ext cx="1047745" cy="278396"/>
          </a:xfrm>
          <a:prstGeom prst="straightConnector1">
            <a:avLst/>
          </a:prstGeom>
          <a:ln w="3810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>
            <a:off x="3536567" y="8132658"/>
            <a:ext cx="376279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/>
              <a:t>Поступления от потребителей и субсидия, в связи с применением льготного тарифа для населения</a:t>
            </a:r>
          </a:p>
        </p:txBody>
      </p:sp>
      <p:sp>
        <p:nvSpPr>
          <p:cNvPr id="34" name="Равнобедренный треугольник 33"/>
          <p:cNvSpPr/>
          <p:nvPr/>
        </p:nvSpPr>
        <p:spPr>
          <a:xfrm>
            <a:off x="11368276" y="4620512"/>
            <a:ext cx="367995" cy="438998"/>
          </a:xfrm>
          <a:prstGeom prst="triangle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TextBox 34"/>
          <p:cNvSpPr txBox="1"/>
          <p:nvPr/>
        </p:nvSpPr>
        <p:spPr>
          <a:xfrm>
            <a:off x="11736271" y="4647649"/>
            <a:ext cx="48974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28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= </a:t>
            </a:r>
            <a:r>
              <a:rPr lang="ru-RU" sz="2800" b="1" dirty="0" smtClean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2 </a:t>
            </a:r>
            <a:r>
              <a:rPr lang="ru-RU" sz="28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млрд. </a:t>
            </a:r>
            <a:r>
              <a:rPr lang="ru-RU" sz="2800" b="1" dirty="0" err="1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руб</a:t>
            </a:r>
            <a:r>
              <a:rPr lang="ru-RU" sz="28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за 5 лет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628010" y="4581533"/>
            <a:ext cx="4355680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b="1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rPr>
              <a:t>Кому не </a:t>
            </a:r>
            <a:r>
              <a:rPr lang="ru-RU" sz="3200" b="1" dirty="0" smtClean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rPr>
              <a:t>платить?</a:t>
            </a:r>
            <a:endParaRPr lang="ru-RU" sz="2400" dirty="0">
              <a:solidFill>
                <a:srgbClr val="FF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788810" y="3608616"/>
            <a:ext cx="1391460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sz="20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верхнормативные потери за 2024 год – 200 млн. </a:t>
            </a:r>
            <a:r>
              <a:rPr lang="ru-RU" sz="2000" b="1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руб</a:t>
            </a:r>
            <a:r>
              <a:rPr lang="ru-RU" sz="20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ru-RU" sz="20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за 2025 год – 530 млн. </a:t>
            </a:r>
            <a:r>
              <a:rPr lang="ru-RU" sz="2000" b="1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руб</a:t>
            </a:r>
            <a:endParaRPr lang="ru-RU" sz="2000" b="1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36" name="Прямая со стрелкой 35"/>
          <p:cNvCxnSpPr/>
          <p:nvPr/>
        </p:nvCxnSpPr>
        <p:spPr>
          <a:xfrm flipV="1">
            <a:off x="5574989" y="6196080"/>
            <a:ext cx="895344" cy="409983"/>
          </a:xfrm>
          <a:prstGeom prst="straightConnector1">
            <a:avLst/>
          </a:prstGeom>
          <a:ln w="3810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6096555" y="5705708"/>
            <a:ext cx="254787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/>
              <a:t>транспорт, тех.обсл., прочие услуги</a:t>
            </a:r>
          </a:p>
        </p:txBody>
      </p:sp>
    </p:spTree>
    <p:extLst>
      <p:ext uri="{BB962C8B-B14F-4D97-AF65-F5344CB8AC3E}">
        <p14:creationId xmlns:p14="http://schemas.microsoft.com/office/powerpoint/2010/main" val="474787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кругленный прямоугольник 2"/>
          <p:cNvSpPr/>
          <p:nvPr/>
        </p:nvSpPr>
        <p:spPr>
          <a:xfrm>
            <a:off x="943069" y="3101992"/>
            <a:ext cx="15505877" cy="5058704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4" name="TextBox 3"/>
          <p:cNvSpPr txBox="1"/>
          <p:nvPr/>
        </p:nvSpPr>
        <p:spPr>
          <a:xfrm>
            <a:off x="1400269" y="3321021"/>
            <a:ext cx="14906531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28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огласно </a:t>
            </a:r>
            <a:r>
              <a:rPr lang="ru-RU" sz="28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.90 ПП </a:t>
            </a:r>
            <a:r>
              <a:rPr lang="ru-RU" sz="28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РФ от 22.10.2012 N 1075 </a:t>
            </a:r>
            <a:r>
              <a:rPr lang="ru-RU" sz="28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"</a:t>
            </a:r>
            <a:r>
              <a:rPr lang="ru-RU" sz="28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О ценообразовании в сфере </a:t>
            </a:r>
            <a:r>
              <a:rPr lang="ru-RU" sz="28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теплоснабжения»:</a:t>
            </a:r>
          </a:p>
          <a:p>
            <a:pPr algn="just"/>
            <a:r>
              <a:rPr lang="ru-RU" sz="28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/>
            </a:r>
            <a:br>
              <a:rPr lang="ru-RU" sz="28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28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 случае если по данным, представленным регулируемой организацией, </a:t>
            </a:r>
            <a:r>
              <a:rPr lang="ru-RU" sz="28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более 75 процентов фактического объема отпуска тепловой энергии из эксплуатируемых ею тепловых сетей определялось по показаниям приборов учета </a:t>
            </a:r>
            <a:r>
              <a:rPr lang="ru-RU" sz="28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 предыдущий отчетный период, </a:t>
            </a:r>
            <a:r>
              <a:rPr lang="ru-RU" sz="28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то в </a:t>
            </a:r>
            <a:r>
              <a:rPr lang="ru-RU" sz="2800" b="1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НВВ такой </a:t>
            </a:r>
            <a:r>
              <a:rPr lang="ru-RU" sz="28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регулируемой организации на последующие годы включаются расходы на оплату фактического объема потерь</a:t>
            </a:r>
            <a:r>
              <a:rPr lang="ru-RU" sz="28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, рассчитанного по данным за предыдущий отчетный период, с применением к нему определяемых органом регулирования ежегодных темпов снижения объема потерь тепловой энергии до уровня нормативных технологических потерь, соответствующих инвестиционной программе регулируемой организации</a:t>
            </a:r>
            <a:r>
              <a:rPr lang="ru-RU" sz="2800" dirty="0"/>
              <a:t>.</a:t>
            </a:r>
            <a:endParaRPr lang="ru-RU" sz="2800" dirty="0" smtClean="0"/>
          </a:p>
          <a:p>
            <a:endParaRPr lang="ru-RU" sz="2000" dirty="0" smtClean="0"/>
          </a:p>
        </p:txBody>
      </p:sp>
      <p:sp>
        <p:nvSpPr>
          <p:cNvPr id="5" name="Заголовок 2"/>
          <p:cNvSpPr txBox="1">
            <a:spLocks/>
          </p:cNvSpPr>
          <p:nvPr/>
        </p:nvSpPr>
        <p:spPr>
          <a:xfrm>
            <a:off x="1542415" y="5839785"/>
            <a:ext cx="15526385" cy="10087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80128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92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sz="2400" dirty="0">
              <a:solidFill>
                <a:srgbClr val="00B05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0" name="Заголовок 2"/>
          <p:cNvSpPr txBox="1">
            <a:spLocks/>
          </p:cNvSpPr>
          <p:nvPr/>
        </p:nvSpPr>
        <p:spPr>
          <a:xfrm>
            <a:off x="1542415" y="476479"/>
            <a:ext cx="15526385" cy="10087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80128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92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200" dirty="0">
                <a:solidFill>
                  <a:srgbClr val="00B05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Что говорит законодательство? </a:t>
            </a:r>
          </a:p>
        </p:txBody>
      </p:sp>
      <p:pic>
        <p:nvPicPr>
          <p:cNvPr id="51" name="Рисунок 5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869" y="106887"/>
            <a:ext cx="914400" cy="914400"/>
          </a:xfrm>
          <a:prstGeom prst="rect">
            <a:avLst/>
          </a:prstGeom>
        </p:spPr>
      </p:pic>
      <p:pic>
        <p:nvPicPr>
          <p:cNvPr id="52" name="Рисунок 51">
            <a:extLst>
              <a:ext uri="{FF2B5EF4-FFF2-40B4-BE49-F238E27FC236}">
                <a16:creationId xmlns:a16="http://schemas.microsoft.com/office/drawing/2014/main" id="{18DD483E-60FD-493F-8F08-A2A91EF7CD6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53165" y="270439"/>
            <a:ext cx="2080546" cy="750848"/>
          </a:xfrm>
          <a:prstGeom prst="rect">
            <a:avLst/>
          </a:prstGeom>
        </p:spPr>
      </p:pic>
      <p:sp>
        <p:nvSpPr>
          <p:cNvPr id="56" name="Прямоугольник 55"/>
          <p:cNvSpPr/>
          <p:nvPr/>
        </p:nvSpPr>
        <p:spPr>
          <a:xfrm>
            <a:off x="562341" y="1584586"/>
            <a:ext cx="1650645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ка </a:t>
            </a:r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«УСТЭК-Челябинск» ремонтирует тепловые сети, </a:t>
            </a:r>
            <a:r>
              <a:rPr lang="ru-RU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ак </a:t>
            </a:r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ожно компенсировать убытки</a:t>
            </a:r>
            <a:r>
              <a:rPr lang="ru-RU" sz="28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?</a:t>
            </a:r>
            <a:endParaRPr lang="ru-RU" sz="2800" b="1" dirty="0"/>
          </a:p>
        </p:txBody>
      </p:sp>
    </p:spTree>
    <p:extLst>
      <p:ext uri="{BB962C8B-B14F-4D97-AF65-F5344CB8AC3E}">
        <p14:creationId xmlns:p14="http://schemas.microsoft.com/office/powerpoint/2010/main" val="30948606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Таблица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1340067"/>
              </p:ext>
            </p:extLst>
          </p:nvPr>
        </p:nvGraphicFramePr>
        <p:xfrm>
          <a:off x="516793" y="5472888"/>
          <a:ext cx="8378222" cy="1677976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2852707">
                  <a:extLst>
                    <a:ext uri="{9D8B030D-6E8A-4147-A177-3AD203B41FA5}">
                      <a16:colId xmlns:a16="http://schemas.microsoft.com/office/drawing/2014/main" val="1390055419"/>
                    </a:ext>
                  </a:extLst>
                </a:gridCol>
                <a:gridCol w="1833270">
                  <a:extLst>
                    <a:ext uri="{9D8B030D-6E8A-4147-A177-3AD203B41FA5}">
                      <a16:colId xmlns:a16="http://schemas.microsoft.com/office/drawing/2014/main" val="3532049033"/>
                    </a:ext>
                  </a:extLst>
                </a:gridCol>
                <a:gridCol w="1834107">
                  <a:extLst>
                    <a:ext uri="{9D8B030D-6E8A-4147-A177-3AD203B41FA5}">
                      <a16:colId xmlns:a16="http://schemas.microsoft.com/office/drawing/2014/main" val="2061699734"/>
                    </a:ext>
                  </a:extLst>
                </a:gridCol>
                <a:gridCol w="1858138">
                  <a:extLst>
                    <a:ext uri="{9D8B030D-6E8A-4147-A177-3AD203B41FA5}">
                      <a16:colId xmlns:a16="http://schemas.microsoft.com/office/drawing/2014/main" val="2790352241"/>
                    </a:ext>
                  </a:extLst>
                </a:gridCol>
              </a:tblGrid>
              <a:tr h="1220454">
                <a:tc>
                  <a:txBody>
                    <a:bodyPr/>
                    <a:lstStyle/>
                    <a:p>
                      <a:pPr algn="ctr"/>
                      <a:endParaRPr lang="ru-RU" sz="1700" b="1" i="0" dirty="0"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128016" marR="128016" marT="64008" marB="64008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700" b="1" i="0" dirty="0" smtClean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Кол-во </a:t>
                      </a:r>
                      <a:r>
                        <a:rPr lang="ru-RU" sz="1700" b="1" i="0" dirty="0" err="1" smtClean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установ</a:t>
                      </a:r>
                      <a:r>
                        <a:rPr lang="ru-RU" sz="1700" b="1" i="0" dirty="0" smtClean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-ленных ОДПУ в 2022-2025, шт.</a:t>
                      </a:r>
                      <a:endParaRPr lang="ru-RU" sz="1700" b="1" i="0" dirty="0"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128016" marR="128016" marT="64008" marB="64008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700" b="1" i="0" dirty="0" smtClean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Плановое</a:t>
                      </a:r>
                      <a:r>
                        <a:rPr lang="ru-RU" sz="1700" b="1" i="0" baseline="0" dirty="0" smtClean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 кол-во ОДПУ к установке </a:t>
                      </a:r>
                    </a:p>
                    <a:p>
                      <a:pPr algn="ctr"/>
                      <a:r>
                        <a:rPr lang="ru-RU" sz="1700" b="1" i="0" baseline="0" dirty="0" smtClean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в 2026, шт.</a:t>
                      </a:r>
                      <a:endParaRPr lang="ru-RU" sz="1700" b="1" i="0" dirty="0"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128016" marR="128016" marT="64008" marB="64008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700" b="1" i="0" dirty="0" smtClean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Общее кол-во ОДПУ к</a:t>
                      </a:r>
                      <a:r>
                        <a:rPr lang="ru-RU" sz="1700" b="1" i="0" baseline="0" dirty="0" smtClean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 установке 2022-2026</a:t>
                      </a:r>
                      <a:r>
                        <a:rPr lang="ru-RU" sz="1700" b="1" i="0" dirty="0" smtClean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, шт.</a:t>
                      </a:r>
                      <a:endParaRPr lang="ru-RU" sz="1700" b="1" i="0" dirty="0"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128016" marR="128016" marT="64008" marB="64008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3362388"/>
                  </a:ext>
                </a:extLst>
              </a:tr>
              <a:tr h="457522">
                <a:tc>
                  <a:txBody>
                    <a:bodyPr/>
                    <a:lstStyle/>
                    <a:p>
                      <a:pPr algn="r"/>
                      <a:r>
                        <a:rPr lang="ru-RU" sz="2000" b="1" i="0" dirty="0" smtClean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ИТОГО:</a:t>
                      </a:r>
                      <a:endParaRPr lang="ru-RU" sz="2000" b="1" i="0" dirty="0"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128016" marR="128016" marT="64008" marB="64008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35</a:t>
                      </a:r>
                    </a:p>
                  </a:txBody>
                  <a:tcPr marL="13335" marR="13335" marT="13335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421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13335" marR="13335" marT="13335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656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13335" marR="13335" marT="13335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6870972"/>
                  </a:ext>
                </a:extLst>
              </a:tr>
            </a:tbl>
          </a:graphicData>
        </a:graphic>
      </p:graphicFrame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2DB1E379-82EC-4A7C-90E2-F5A35296702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223" y="2223"/>
          <a:ext cx="2223" cy="2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0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2DB1E379-82EC-4A7C-90E2-F5A3529670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223" y="2223"/>
                        <a:ext cx="2223" cy="22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Прямоугольник 13" hidden="1">
            <a:extLst>
              <a:ext uri="{FF2B5EF4-FFF2-40B4-BE49-F238E27FC236}">
                <a16:creationId xmlns:a16="http://schemas.microsoft.com/office/drawing/2014/main" id="{BFDD834E-383E-4941-A314-4B14B3440F0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1280160">
              <a:defRPr/>
            </a:pPr>
            <a:endParaRPr lang="ru-RU" sz="1680" b="1" dirty="0">
              <a:solidFill>
                <a:prstClr val="white"/>
              </a:solidFill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1431193" y="559858"/>
            <a:ext cx="12643557" cy="450424"/>
          </a:xfrm>
          <a:prstGeom prst="rect">
            <a:avLst/>
          </a:prstGeom>
        </p:spPr>
        <p:txBody>
          <a:bodyPr vert="horz" wrap="square" lIns="0" tIns="19348" rIns="0" bIns="0" rtlCol="0" anchor="ctr" anchorCtr="0">
            <a:spAutoFit/>
          </a:bodyPr>
          <a:lstStyle/>
          <a:p>
            <a:pPr marL="16122">
              <a:lnSpc>
                <a:spcPct val="100000"/>
              </a:lnSpc>
              <a:spcBef>
                <a:spcPts val="153"/>
              </a:spcBef>
            </a:pPr>
            <a:r>
              <a:rPr lang="ru-RU" sz="2800" dirty="0">
                <a:solidFill>
                  <a:srgbClr val="00B050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Уровень оприборенности конечного потребителя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527611" y="1187855"/>
            <a:ext cx="9696372" cy="4370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40080">
              <a:defRPr/>
            </a:pPr>
            <a:r>
              <a:rPr lang="ru-RU" sz="2240" b="1" u="sng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Уровень оприборенности 2022-2025 (полезный отпуск конечному потребителю):</a:t>
            </a:r>
            <a:endParaRPr lang="ru-RU" sz="2240" b="1" u="sng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516793" y="4487611"/>
            <a:ext cx="7868243" cy="7817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40080">
              <a:defRPr/>
            </a:pPr>
            <a:r>
              <a:rPr lang="ru-RU" sz="2240" b="1" u="sng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Установка приборов учета тепловой энергии в МКД в </a:t>
            </a:r>
            <a:r>
              <a:rPr lang="ru-RU" sz="2240" b="1" u="sng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022-2026 АО «УСТЭК-Челябинск»:</a:t>
            </a:r>
            <a:endParaRPr lang="ru-RU" sz="2240" b="1" u="sng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3" name="Номер слайда 3">
            <a:extLst>
              <a:ext uri="{FF2B5EF4-FFF2-40B4-BE49-F238E27FC236}">
                <a16:creationId xmlns:a16="http://schemas.microsoft.com/office/drawing/2014/main" id="{3F2151CE-C0A5-45C4-9651-4F65DB4F281A}"/>
              </a:ext>
            </a:extLst>
          </p:cNvPr>
          <p:cNvSpPr txBox="1">
            <a:spLocks/>
          </p:cNvSpPr>
          <p:nvPr/>
        </p:nvSpPr>
        <p:spPr>
          <a:xfrm>
            <a:off x="13877394" y="9034671"/>
            <a:ext cx="2880360" cy="511175"/>
          </a:xfrm>
          <a:prstGeom prst="rect">
            <a:avLst/>
          </a:prstGeom>
        </p:spPr>
        <p:txBody>
          <a:bodyPr vert="horz" lIns="128016" tIns="64008" rIns="128016" bIns="6400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40080">
              <a:defRPr/>
            </a:pPr>
            <a:fld id="{F468EC6F-841A-47C2-BD45-007DFE8DEB37}" type="slidenum">
              <a:rPr lang="ru-RU" sz="1680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defTabSz="640080">
                <a:defRPr/>
              </a:pPr>
              <a:t>8</a:t>
            </a:fld>
            <a:endParaRPr lang="ru-RU" sz="1680" dirty="0">
              <a:solidFill>
                <a:prstClr val="black">
                  <a:tint val="7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6" name="Диаграмма 2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29913194"/>
              </p:ext>
            </p:extLst>
          </p:nvPr>
        </p:nvGraphicFramePr>
        <p:xfrm>
          <a:off x="579511" y="1805266"/>
          <a:ext cx="8589889" cy="26056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4" name="Прямоугольник 23"/>
          <p:cNvSpPr/>
          <p:nvPr/>
        </p:nvSpPr>
        <p:spPr>
          <a:xfrm>
            <a:off x="527611" y="9200845"/>
            <a:ext cx="16230141" cy="3508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40080">
              <a:defRPr/>
            </a:pPr>
            <a:r>
              <a:rPr lang="ru-RU" sz="1680" b="1" dirty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* Управляющие компании, осуществляющие управление МКД, имеют возможность самостоятельно установить общедомовые приборы учета тепловой энергии</a:t>
            </a:r>
            <a:endParaRPr lang="ru-RU" sz="1680" b="1" dirty="0">
              <a:solidFill>
                <a:prstClr val="black"/>
              </a:solidFill>
              <a:latin typeface="Calibri" panose="020F0502020204030204"/>
            </a:endParaRPr>
          </a:p>
        </p:txBody>
      </p:sp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18DD483E-60FD-493F-8F08-A2A91EF7CD6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77206" y="234222"/>
            <a:ext cx="2080546" cy="750848"/>
          </a:xfrm>
          <a:prstGeom prst="rect">
            <a:avLst/>
          </a:prstGeom>
        </p:spPr>
      </p:pic>
      <p:sp>
        <p:nvSpPr>
          <p:cNvPr id="27" name="Прямоугольник 26"/>
          <p:cNvSpPr/>
          <p:nvPr/>
        </p:nvSpPr>
        <p:spPr>
          <a:xfrm>
            <a:off x="9337104" y="4991937"/>
            <a:ext cx="7483906" cy="24160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1400" b="1" dirty="0" smtClean="0">
                <a:solidFill>
                  <a:schemeClr val="accent3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Управляющие компании не содержат приборы учета в надлежащем состоянии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1400" b="1" dirty="0" smtClean="0">
                <a:solidFill>
                  <a:schemeClr val="accent3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УК Сообщают о планах по установке прибора учёта и не устанавливают его.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1400" b="1" dirty="0" smtClean="0">
                <a:solidFill>
                  <a:schemeClr val="accent3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УК ссылаются на отсутствие технической возможности установки ОДПУ.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Ø"/>
            </a:pPr>
            <a:endParaRPr lang="ru-RU" sz="1400" b="1" dirty="0">
              <a:solidFill>
                <a:schemeClr val="accent3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Ø"/>
            </a:pPr>
            <a:endParaRPr lang="ru-RU" sz="1400" b="1" dirty="0">
              <a:solidFill>
                <a:schemeClr val="accent3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Ø"/>
            </a:pPr>
            <a:endParaRPr lang="ru-RU" sz="1400" b="1" dirty="0">
              <a:solidFill>
                <a:schemeClr val="accent3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9408852" y="4520912"/>
            <a:ext cx="308289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800" b="1" dirty="0" smtClean="0">
                <a:solidFill>
                  <a:srgbClr val="C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сновные проблемы:</a:t>
            </a:r>
            <a:endParaRPr lang="ru-RU" sz="1800" b="1" dirty="0">
              <a:solidFill>
                <a:srgbClr val="C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9337104" y="6500119"/>
            <a:ext cx="7731696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1400" b="1" dirty="0">
                <a:solidFill>
                  <a:schemeClr val="accent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куратура и </a:t>
            </a:r>
            <a:r>
              <a:rPr lang="ru-RU" sz="1400" b="1" dirty="0" err="1">
                <a:solidFill>
                  <a:schemeClr val="accent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остехнадзор</a:t>
            </a:r>
            <a:r>
              <a:rPr lang="ru-RU" sz="1400" b="1" dirty="0">
                <a:solidFill>
                  <a:schemeClr val="accent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отвечают, что это компетенция ГЖИ. </a:t>
            </a:r>
            <a:endParaRPr lang="ru-RU" sz="1400" b="1" dirty="0" smtClean="0">
              <a:solidFill>
                <a:schemeClr val="accent2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1400" b="1" dirty="0">
                <a:solidFill>
                  <a:schemeClr val="accent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ГЖИ в рамках своих полномочий может выдать только предупреждение.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Ø"/>
            </a:pPr>
            <a:endParaRPr lang="ru-RU" sz="1400" b="1" dirty="0">
              <a:solidFill>
                <a:schemeClr val="accent2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7" name="Диаграмма 6"/>
          <p:cNvGraphicFramePr/>
          <p:nvPr>
            <p:extLst>
              <p:ext uri="{D42A27DB-BD31-4B8C-83A1-F6EECF244321}">
                <p14:modId xmlns:p14="http://schemas.microsoft.com/office/powerpoint/2010/main" val="2015707441"/>
              </p:ext>
            </p:extLst>
          </p:nvPr>
        </p:nvGraphicFramePr>
        <p:xfrm>
          <a:off x="9786143" y="1573184"/>
          <a:ext cx="6308990" cy="29565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pic>
        <p:nvPicPr>
          <p:cNvPr id="16" name="Рисунок 15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793" y="152446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8920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63" name="Picture 2" descr="https://thumbs.dreamstime.com/b/%D0%B7%D0%BD%D0%B0%D1%87%D0%BE%D0%BA-%D0%B2%D0%B5%D0%BA%D1%82%D0%BE%D1%80%D0%B0-%D1%88%D0%BA%D0%BE%D0%BB%D1%8B-%D0%B8%D0%B7%D0%BE%D0%BB%D0%B8%D1%80%D0%BE%D0%B2%D0%B0%D0%BD%D0%BD%D0%BE%D0%B5-%D0%B7%D0%B4%D0%B0%D0%BD%D0%B8%D0%B5-%D0%BD%D0%B0-%D0%B1%D0%B5%D0%BB%D0%BE%D0%B9-%D0%BF%D1%80%D0%B5%D0%B4%D0%BF%D0%BE%D1%81%D1%8B%D0%BB%D0%BA%D0%B5-153651792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060" b="17542"/>
          <a:stretch>
            <a:fillRect/>
          </a:stretch>
        </p:blipFill>
        <p:spPr bwMode="auto">
          <a:xfrm>
            <a:off x="1692055" y="8113242"/>
            <a:ext cx="1678150" cy="10532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94" name="Заголовок 1"/>
          <p:cNvSpPr txBox="1">
            <a:spLocks/>
          </p:cNvSpPr>
          <p:nvPr/>
        </p:nvSpPr>
        <p:spPr bwMode="auto">
          <a:xfrm>
            <a:off x="1437221" y="485712"/>
            <a:ext cx="14319251" cy="1224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ru-RU" altLang="ru-RU" b="1" dirty="0" smtClean="0">
                <a:solidFill>
                  <a:srgbClr val="00B050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ТЕКУЩАЯ СИТУАЦИЯ С ОПРИБОРЕННОСТЬЮ</a:t>
            </a:r>
            <a:r>
              <a:rPr lang="ru-RU" altLang="ru-RU" sz="2400" b="1" dirty="0" smtClean="0">
                <a:solidFill>
                  <a:srgbClr val="00B050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/>
            </a:r>
            <a:br>
              <a:rPr lang="ru-RU" altLang="ru-RU" sz="2400" b="1" dirty="0" smtClean="0">
                <a:solidFill>
                  <a:srgbClr val="00B050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</a:br>
            <a:endParaRPr lang="ru-RU" altLang="en-US" sz="2400" b="1" dirty="0">
              <a:solidFill>
                <a:srgbClr val="00B050"/>
              </a:solidFill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Прямоугольник: скругленные углы 55">
            <a:extLst>
              <a:ext uri="{FF2B5EF4-FFF2-40B4-BE49-F238E27FC236}">
                <a16:creationId xmlns:a16="http://schemas.microsoft.com/office/drawing/2014/main" id="{6A1D9566-E760-43B7-BB52-A896420FD094}"/>
              </a:ext>
            </a:extLst>
          </p:cNvPr>
          <p:cNvSpPr/>
          <p:nvPr/>
        </p:nvSpPr>
        <p:spPr>
          <a:xfrm>
            <a:off x="8022114" y="2199436"/>
            <a:ext cx="3462655" cy="1313498"/>
          </a:xfrm>
          <a:prstGeom prst="roundRect">
            <a:avLst>
              <a:gd name="adj" fmla="val 8734"/>
            </a:avLst>
          </a:prstGeom>
          <a:noFill/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anchor="ctr"/>
          <a:lstStyle/>
          <a:p>
            <a:pPr defTabSz="1505468">
              <a:defRPr/>
            </a:pPr>
            <a:r>
              <a:rPr lang="ru-RU" sz="1600" dirty="0">
                <a:solidFill>
                  <a:srgbClr val="000000">
                    <a:lumMod val="85000"/>
                    <a:lumOff val="15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До установки приборов </a:t>
            </a:r>
            <a:r>
              <a:rPr lang="ru-RU" sz="1600" dirty="0" smtClean="0">
                <a:solidFill>
                  <a:srgbClr val="000000">
                    <a:lumMod val="85000"/>
                    <a:lumOff val="15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учёта</a:t>
            </a:r>
            <a:r>
              <a:rPr lang="ru-RU" sz="1600" dirty="0">
                <a:solidFill>
                  <a:srgbClr val="000000">
                    <a:lumMod val="85000"/>
                    <a:lumOff val="15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, а также при их выходе из строя, утрате применяется </a:t>
            </a:r>
            <a:r>
              <a:rPr lang="ru-RU" sz="1600" b="1" dirty="0" smtClean="0">
                <a:solidFill>
                  <a:srgbClr val="000000">
                    <a:lumMod val="85000"/>
                    <a:lumOff val="15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асчётный </a:t>
            </a:r>
            <a:r>
              <a:rPr lang="ru-RU" sz="1600" b="1" dirty="0">
                <a:solidFill>
                  <a:srgbClr val="000000">
                    <a:lumMod val="85000"/>
                    <a:lumOff val="15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метод </a:t>
            </a:r>
            <a:r>
              <a:rPr lang="ru-RU" sz="1600" dirty="0" smtClean="0">
                <a:solidFill>
                  <a:srgbClr val="000000">
                    <a:lumMod val="85000"/>
                    <a:lumOff val="15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учёта</a:t>
            </a:r>
            <a:endParaRPr lang="ru-RU" sz="1600" dirty="0">
              <a:solidFill>
                <a:srgbClr val="000000">
                  <a:lumMod val="85000"/>
                  <a:lumOff val="15000"/>
                </a:srgb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" name="Прямоугольник: скругленные углы 22">
            <a:extLst>
              <a:ext uri="{FF2B5EF4-FFF2-40B4-BE49-F238E27FC236}">
                <a16:creationId xmlns:a16="http://schemas.microsoft.com/office/drawing/2014/main" id="{8E3F7CCE-FAAB-4D2A-86E4-F76CB069C664}"/>
              </a:ext>
            </a:extLst>
          </p:cNvPr>
          <p:cNvSpPr/>
          <p:nvPr/>
        </p:nvSpPr>
        <p:spPr>
          <a:xfrm>
            <a:off x="641191" y="1321638"/>
            <a:ext cx="15987238" cy="505289"/>
          </a:xfrm>
          <a:prstGeom prst="roundRect">
            <a:avLst>
              <a:gd name="adj" fmla="val 21309"/>
            </a:avLst>
          </a:prstGeom>
          <a:noFill/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anchor="ctr"/>
          <a:lstStyle/>
          <a:p>
            <a:pPr algn="ctr" defTabSz="1505468">
              <a:defRPr/>
            </a:pPr>
            <a:r>
              <a:rPr lang="ru-RU" sz="18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сновная концепция </a:t>
            </a:r>
            <a:r>
              <a:rPr lang="ru-RU" sz="1800" b="1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61-ФЗ от 23.11.2009 </a:t>
            </a:r>
            <a:r>
              <a:rPr lang="ru-RU" sz="18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«Об энергосбережениии о повышении энергетической </a:t>
            </a:r>
            <a:r>
              <a:rPr lang="ru-RU" sz="1800" b="1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эффективности..»</a:t>
            </a:r>
            <a:endParaRPr lang="ru-RU" sz="1800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" name="Прямоугольник: скругленные углы 23">
            <a:extLst>
              <a:ext uri="{FF2B5EF4-FFF2-40B4-BE49-F238E27FC236}">
                <a16:creationId xmlns:a16="http://schemas.microsoft.com/office/drawing/2014/main" id="{6513BDF6-B8B5-4C47-9C8B-73C6C459C381}"/>
              </a:ext>
            </a:extLst>
          </p:cNvPr>
          <p:cNvSpPr/>
          <p:nvPr/>
        </p:nvSpPr>
        <p:spPr>
          <a:xfrm>
            <a:off x="641191" y="2170543"/>
            <a:ext cx="2755900" cy="1313497"/>
          </a:xfrm>
          <a:prstGeom prst="roundRect">
            <a:avLst>
              <a:gd name="adj" fmla="val 11326"/>
            </a:avLst>
          </a:prstGeom>
          <a:noFill/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anchor="ctr"/>
          <a:lstStyle/>
          <a:p>
            <a:pPr defTabSz="1505468">
              <a:defRPr/>
            </a:pPr>
            <a:r>
              <a:rPr lang="ru-RU" sz="1600" dirty="0">
                <a:solidFill>
                  <a:srgbClr val="000000">
                    <a:lumMod val="85000"/>
                    <a:lumOff val="15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отребляемые ресурсы подлежат обязательному учету </a:t>
            </a:r>
            <a:endParaRPr lang="ru-RU" sz="1600" dirty="0" smtClean="0">
              <a:solidFill>
                <a:srgbClr val="000000">
                  <a:lumMod val="85000"/>
                  <a:lumOff val="15000"/>
                </a:srgb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defTabSz="1505468">
              <a:defRPr/>
            </a:pPr>
            <a:r>
              <a:rPr lang="ru-RU" sz="1600" b="1" dirty="0" smtClean="0">
                <a:solidFill>
                  <a:srgbClr val="000000">
                    <a:lumMod val="85000"/>
                    <a:lumOff val="15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в </a:t>
            </a:r>
            <a:r>
              <a:rPr lang="ru-RU" sz="1600" b="1" dirty="0">
                <a:solidFill>
                  <a:srgbClr val="000000">
                    <a:lumMod val="85000"/>
                    <a:lumOff val="15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очке поставки</a:t>
            </a:r>
            <a:endParaRPr lang="ru-RU" sz="1600" dirty="0">
              <a:solidFill>
                <a:srgbClr val="000000">
                  <a:lumMod val="85000"/>
                  <a:lumOff val="15000"/>
                </a:srgb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" name="Прямоугольник: скругленные углы 30">
            <a:extLst>
              <a:ext uri="{FF2B5EF4-FFF2-40B4-BE49-F238E27FC236}">
                <a16:creationId xmlns:a16="http://schemas.microsoft.com/office/drawing/2014/main" id="{59453469-F908-4F97-B80C-4EAAD92D83F3}"/>
              </a:ext>
            </a:extLst>
          </p:cNvPr>
          <p:cNvSpPr/>
          <p:nvPr/>
        </p:nvSpPr>
        <p:spPr>
          <a:xfrm>
            <a:off x="12113737" y="2199436"/>
            <a:ext cx="4538345" cy="1311275"/>
          </a:xfrm>
          <a:prstGeom prst="roundRect">
            <a:avLst>
              <a:gd name="adj" fmla="val 11566"/>
            </a:avLst>
          </a:prstGeom>
          <a:noFill/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anchor="ctr"/>
          <a:lstStyle/>
          <a:p>
            <a:pPr defTabSz="1505468">
              <a:defRPr/>
            </a:pPr>
            <a:r>
              <a:rPr lang="ru-RU" sz="1600" dirty="0" smtClean="0">
                <a:solidFill>
                  <a:srgbClr val="000000">
                    <a:lumMod val="85000"/>
                    <a:lumOff val="15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асчётные </a:t>
            </a:r>
            <a:r>
              <a:rPr lang="ru-RU" sz="1600" dirty="0">
                <a:solidFill>
                  <a:srgbClr val="000000">
                    <a:lumMod val="85000"/>
                    <a:lumOff val="15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методы должны определять количество ресурсов таким образом, чтобы </a:t>
            </a:r>
            <a:r>
              <a:rPr lang="ru-RU" sz="1600" b="1" dirty="0">
                <a:solidFill>
                  <a:srgbClr val="000000">
                    <a:lumMod val="85000"/>
                    <a:lumOff val="15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стимулировать покупателей ресурсов к применению приборов</a:t>
            </a:r>
          </a:p>
        </p:txBody>
      </p:sp>
      <p:sp>
        <p:nvSpPr>
          <p:cNvPr id="11" name="Прямоугольник: скругленные углы 31">
            <a:extLst>
              <a:ext uri="{FF2B5EF4-FFF2-40B4-BE49-F238E27FC236}">
                <a16:creationId xmlns:a16="http://schemas.microsoft.com/office/drawing/2014/main" id="{ACD9AA65-DCAC-464A-BA96-1F9B26477302}"/>
              </a:ext>
            </a:extLst>
          </p:cNvPr>
          <p:cNvSpPr/>
          <p:nvPr/>
        </p:nvSpPr>
        <p:spPr>
          <a:xfrm>
            <a:off x="3810476" y="2199436"/>
            <a:ext cx="3776027" cy="1313498"/>
          </a:xfrm>
          <a:prstGeom prst="roundRect">
            <a:avLst>
              <a:gd name="adj" fmla="val 11326"/>
            </a:avLst>
          </a:prstGeom>
          <a:noFill/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anchor="ctr"/>
          <a:lstStyle/>
          <a:p>
            <a:pPr defTabSz="1505468">
              <a:defRPr/>
            </a:pPr>
            <a:r>
              <a:rPr lang="ru-RU" sz="1600" dirty="0" smtClean="0">
                <a:solidFill>
                  <a:srgbClr val="000000">
                    <a:lumMod val="85000"/>
                    <a:lumOff val="15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асчёты </a:t>
            </a:r>
            <a:r>
              <a:rPr lang="ru-RU" sz="1600" dirty="0">
                <a:solidFill>
                  <a:srgbClr val="000000">
                    <a:lumMod val="85000"/>
                    <a:lumOff val="15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за потребленные ресурсы должны осуществляться на основании данных </a:t>
            </a:r>
            <a:r>
              <a:rPr lang="ru-RU" sz="1600" b="1" dirty="0">
                <a:solidFill>
                  <a:srgbClr val="000000">
                    <a:lumMod val="85000"/>
                    <a:lumOff val="15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иборов </a:t>
            </a:r>
            <a:r>
              <a:rPr lang="ru-RU" sz="1600" b="1" dirty="0" smtClean="0">
                <a:solidFill>
                  <a:srgbClr val="000000">
                    <a:lumMod val="85000"/>
                    <a:lumOff val="15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учёта</a:t>
            </a:r>
            <a:r>
              <a:rPr lang="ru-RU" sz="1600" b="1" dirty="0">
                <a:solidFill>
                  <a:srgbClr val="000000">
                    <a:lumMod val="85000"/>
                    <a:lumOff val="15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!</a:t>
            </a:r>
          </a:p>
        </p:txBody>
      </p:sp>
      <p:cxnSp>
        <p:nvCxnSpPr>
          <p:cNvPr id="12" name="Прямая со стрелкой 11">
            <a:extLst>
              <a:ext uri="{FF2B5EF4-FFF2-40B4-BE49-F238E27FC236}">
                <a16:creationId xmlns:a16="http://schemas.microsoft.com/office/drawing/2014/main" id="{2FA71D7E-44CE-43CF-901E-F43D0BC0D1BA}"/>
              </a:ext>
            </a:extLst>
          </p:cNvPr>
          <p:cNvCxnSpPr>
            <a:cxnSpLocks/>
            <a:endCxn id="11" idx="1"/>
          </p:cNvCxnSpPr>
          <p:nvPr/>
        </p:nvCxnSpPr>
        <p:spPr>
          <a:xfrm>
            <a:off x="3397092" y="2855073"/>
            <a:ext cx="413385" cy="0"/>
          </a:xfrm>
          <a:prstGeom prst="straightConnector1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</p:cxnSp>
      <p:cxnSp>
        <p:nvCxnSpPr>
          <p:cNvPr id="13" name="Прямая со стрелкой 12">
            <a:extLst>
              <a:ext uri="{FF2B5EF4-FFF2-40B4-BE49-F238E27FC236}">
                <a16:creationId xmlns:a16="http://schemas.microsoft.com/office/drawing/2014/main" id="{47BFDDA2-5C41-4D95-8915-50EFC0E898AC}"/>
              </a:ext>
            </a:extLst>
          </p:cNvPr>
          <p:cNvCxnSpPr>
            <a:cxnSpLocks/>
            <a:stCxn id="11" idx="3"/>
            <a:endCxn id="7" idx="1"/>
          </p:cNvCxnSpPr>
          <p:nvPr/>
        </p:nvCxnSpPr>
        <p:spPr>
          <a:xfrm>
            <a:off x="7586503" y="2855073"/>
            <a:ext cx="435610" cy="0"/>
          </a:xfrm>
          <a:prstGeom prst="straightConnector1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</p:cxnSp>
      <p:cxnSp>
        <p:nvCxnSpPr>
          <p:cNvPr id="14" name="Прямая со стрелкой 13">
            <a:extLst>
              <a:ext uri="{FF2B5EF4-FFF2-40B4-BE49-F238E27FC236}">
                <a16:creationId xmlns:a16="http://schemas.microsoft.com/office/drawing/2014/main" id="{7311FABF-4E12-4448-901F-A08964C8A2A6}"/>
              </a:ext>
            </a:extLst>
          </p:cNvPr>
          <p:cNvCxnSpPr>
            <a:cxnSpLocks/>
            <a:stCxn id="7" idx="3"/>
            <a:endCxn id="10" idx="1"/>
          </p:cNvCxnSpPr>
          <p:nvPr/>
        </p:nvCxnSpPr>
        <p:spPr>
          <a:xfrm flipV="1">
            <a:off x="11484769" y="2855073"/>
            <a:ext cx="628968" cy="0"/>
          </a:xfrm>
          <a:prstGeom prst="straightConnector1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</p:cxnSp>
      <p:cxnSp>
        <p:nvCxnSpPr>
          <p:cNvPr id="15" name="Прямая со стрелкой 14">
            <a:extLst>
              <a:ext uri="{FF2B5EF4-FFF2-40B4-BE49-F238E27FC236}">
                <a16:creationId xmlns:a16="http://schemas.microsoft.com/office/drawing/2014/main" id="{1638DDB7-9A17-4D4B-8448-9764B62E4070}"/>
              </a:ext>
            </a:extLst>
          </p:cNvPr>
          <p:cNvCxnSpPr>
            <a:cxnSpLocks/>
          </p:cNvCxnSpPr>
          <p:nvPr/>
        </p:nvCxnSpPr>
        <p:spPr>
          <a:xfrm flipH="1">
            <a:off x="2890353" y="1829432"/>
            <a:ext cx="2" cy="341111"/>
          </a:xfrm>
          <a:prstGeom prst="straightConnector1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</p:cxnSp>
      <p:sp>
        <p:nvSpPr>
          <p:cNvPr id="16" name="Полилиния: фигура 246">
            <a:extLst>
              <a:ext uri="{FF2B5EF4-FFF2-40B4-BE49-F238E27FC236}">
                <a16:creationId xmlns:a16="http://schemas.microsoft.com/office/drawing/2014/main" id="{301C7934-50A7-4458-98FE-93ACD3041466}"/>
              </a:ext>
            </a:extLst>
          </p:cNvPr>
          <p:cNvSpPr/>
          <p:nvPr/>
        </p:nvSpPr>
        <p:spPr>
          <a:xfrm>
            <a:off x="5541272" y="3514585"/>
            <a:ext cx="9601199" cy="210373"/>
          </a:xfrm>
          <a:custGeom>
            <a:avLst/>
            <a:gdLst>
              <a:gd name="connsiteX0" fmla="*/ 12125194 w 12125194"/>
              <a:gd name="connsiteY0" fmla="*/ 12526 h 288098"/>
              <a:gd name="connsiteX1" fmla="*/ 12125194 w 12125194"/>
              <a:gd name="connsiteY1" fmla="*/ 288098 h 288098"/>
              <a:gd name="connsiteX2" fmla="*/ 0 w 12125194"/>
              <a:gd name="connsiteY2" fmla="*/ 288098 h 288098"/>
              <a:gd name="connsiteX3" fmla="*/ 0 w 12125194"/>
              <a:gd name="connsiteY3" fmla="*/ 0 h 288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25194" h="288098">
                <a:moveTo>
                  <a:pt x="12125194" y="12526"/>
                </a:moveTo>
                <a:lnTo>
                  <a:pt x="12125194" y="288098"/>
                </a:lnTo>
                <a:lnTo>
                  <a:pt x="0" y="288098"/>
                </a:lnTo>
                <a:lnTo>
                  <a:pt x="0" y="0"/>
                </a:lnTo>
              </a:path>
            </a:pathLst>
          </a:custGeom>
          <a:noFill/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anchor="ctr"/>
          <a:lstStyle/>
          <a:p>
            <a:pPr algn="ctr">
              <a:defRPr/>
            </a:pPr>
            <a:endParaRPr lang="ru-RU" sz="160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159" name="Прямоугольник 27"/>
          <p:cNvSpPr>
            <a:spLocks noChangeArrowheads="1"/>
          </p:cNvSpPr>
          <p:nvPr/>
        </p:nvSpPr>
        <p:spPr bwMode="auto">
          <a:xfrm>
            <a:off x="617538" y="7720617"/>
            <a:ext cx="415851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екущая </a:t>
            </a:r>
            <a:r>
              <a:rPr lang="ru-RU" altLang="ru-RU" sz="16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итуация</a:t>
            </a:r>
            <a:r>
              <a:rPr lang="en-US" altLang="ru-RU" sz="16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ru-RU" altLang="ru-RU" sz="16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 Челябинске:</a:t>
            </a:r>
            <a:endParaRPr lang="ru-RU" altLang="ru-RU" sz="16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160" name="Прямоугольник 28"/>
          <p:cNvSpPr>
            <a:spLocks noChangeArrowheads="1"/>
          </p:cNvSpPr>
          <p:nvPr/>
        </p:nvSpPr>
        <p:spPr bwMode="auto">
          <a:xfrm>
            <a:off x="11589129" y="8181992"/>
            <a:ext cx="3996055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600" b="1" dirty="0">
                <a:solidFill>
                  <a:srgbClr val="EB643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ногоквартирные дома:</a:t>
            </a:r>
          </a:p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ru-RU" altLang="ru-RU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с ОДПУ </a:t>
            </a:r>
            <a:r>
              <a:rPr lang="en-US" altLang="ru-RU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—</a:t>
            </a:r>
            <a:r>
              <a:rPr lang="ru-RU" altLang="ru-RU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ru-RU" altLang="ru-RU" sz="1800" b="1" dirty="0" smtClean="0">
                <a:solidFill>
                  <a:srgbClr val="C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70,5 </a:t>
            </a:r>
            <a:r>
              <a:rPr lang="ru-RU" altLang="ru-RU" sz="1800" b="1" dirty="0">
                <a:solidFill>
                  <a:srgbClr val="C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% </a:t>
            </a:r>
          </a:p>
          <a:p>
            <a:pPr marL="182563" indent="-182563">
              <a:lnSpc>
                <a:spcPct val="100000"/>
              </a:lnSpc>
              <a:spcBef>
                <a:spcPct val="0"/>
              </a:spcBef>
              <a:tabLst>
                <a:tab pos="357188" algn="l"/>
              </a:tabLst>
            </a:pPr>
            <a:r>
              <a:rPr lang="ru-RU" altLang="ru-RU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без </a:t>
            </a:r>
            <a:r>
              <a:rPr lang="ru-RU" altLang="ru-RU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ДПУ </a:t>
            </a:r>
            <a:r>
              <a:rPr lang="en-US" altLang="ru-RU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—</a:t>
            </a:r>
            <a:r>
              <a:rPr lang="ru-RU" altLang="ru-RU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ru-RU" altLang="ru-RU" sz="1800" b="1" dirty="0" smtClean="0">
                <a:solidFill>
                  <a:srgbClr val="C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9,5 </a:t>
            </a:r>
            <a:r>
              <a:rPr lang="ru-RU" altLang="ru-RU" sz="1800" b="1" dirty="0">
                <a:solidFill>
                  <a:srgbClr val="C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%</a:t>
            </a:r>
          </a:p>
          <a:p>
            <a:pPr>
              <a:lnSpc>
                <a:spcPct val="100000"/>
              </a:lnSpc>
              <a:spcBef>
                <a:spcPct val="0"/>
              </a:spcBef>
            </a:pPr>
            <a:endParaRPr lang="ru-RU" altLang="ru-RU" sz="1600" i="1" dirty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ru-RU" altLang="ru-RU" sz="1600" i="1" dirty="0"/>
          </a:p>
        </p:txBody>
      </p:sp>
      <p:sp>
        <p:nvSpPr>
          <p:cNvPr id="6161" name="Прямоугольник 29"/>
          <p:cNvSpPr>
            <a:spLocks noChangeArrowheads="1"/>
          </p:cNvSpPr>
          <p:nvPr/>
        </p:nvSpPr>
        <p:spPr bwMode="auto">
          <a:xfrm>
            <a:off x="4005660" y="8179430"/>
            <a:ext cx="6312558" cy="1477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 dirty="0" smtClean="0">
                <a:solidFill>
                  <a:srgbClr val="EB643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Бюджетные учреждения:</a:t>
            </a:r>
          </a:p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ru-RU" altLang="ru-RU" sz="18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с ПУ  </a:t>
            </a:r>
            <a:r>
              <a:rPr lang="en-US" altLang="ru-RU" sz="18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—</a:t>
            </a:r>
            <a:r>
              <a:rPr lang="ru-RU" altLang="ru-RU" sz="1800" b="1" dirty="0" smtClean="0">
                <a:solidFill>
                  <a:srgbClr val="C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95 %</a:t>
            </a:r>
          </a:p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ru-RU" altLang="ru-RU" sz="18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без ПУ </a:t>
            </a:r>
            <a:r>
              <a:rPr lang="en-US" altLang="ru-RU" sz="18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—</a:t>
            </a:r>
            <a:r>
              <a:rPr lang="ru-RU" altLang="ru-RU" sz="18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ru-RU" altLang="ru-RU" sz="1800" b="1" dirty="0" smtClean="0">
                <a:solidFill>
                  <a:srgbClr val="C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5 %</a:t>
            </a:r>
          </a:p>
          <a:p>
            <a:pPr>
              <a:lnSpc>
                <a:spcPct val="100000"/>
              </a:lnSpc>
              <a:spcBef>
                <a:spcPct val="0"/>
              </a:spcBef>
            </a:pPr>
            <a:endParaRPr lang="ru-RU" altLang="ru-RU" sz="1800" i="1" dirty="0" smtClean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ru-RU" altLang="ru-RU" sz="1800" i="1" dirty="0"/>
          </a:p>
        </p:txBody>
      </p:sp>
      <p:pic>
        <p:nvPicPr>
          <p:cNvPr id="6162" name="Рисунок 3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31909" y="8039387"/>
            <a:ext cx="1571109" cy="1156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" name="Скругленный прямоугольник 34"/>
          <p:cNvSpPr/>
          <p:nvPr/>
        </p:nvSpPr>
        <p:spPr>
          <a:xfrm>
            <a:off x="602795" y="8093458"/>
            <a:ext cx="16064030" cy="1069659"/>
          </a:xfrm>
          <a:prstGeom prst="roundRect">
            <a:avLst/>
          </a:prstGeom>
          <a:noFill/>
          <a:ln w="28575">
            <a:solidFill>
              <a:srgbClr val="EB6437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2964"/>
          </a:p>
        </p:txBody>
      </p:sp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18DD483E-60FD-493F-8F08-A2A91EF7CD6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16199" y="314174"/>
            <a:ext cx="2080546" cy="750848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619" y="256890"/>
            <a:ext cx="914400" cy="914400"/>
          </a:xfrm>
          <a:prstGeom prst="rect">
            <a:avLst/>
          </a:prstGeom>
        </p:spPr>
      </p:pic>
      <p:graphicFrame>
        <p:nvGraphicFramePr>
          <p:cNvPr id="24" name="Диаграмма 23"/>
          <p:cNvGraphicFramePr/>
          <p:nvPr>
            <p:extLst>
              <p:ext uri="{D42A27DB-BD31-4B8C-83A1-F6EECF244321}">
                <p14:modId xmlns:p14="http://schemas.microsoft.com/office/powerpoint/2010/main" val="185095456"/>
              </p:ext>
            </p:extLst>
          </p:nvPr>
        </p:nvGraphicFramePr>
        <p:xfrm>
          <a:off x="641191" y="5296865"/>
          <a:ext cx="3928910" cy="21070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5" name="Прямоугольник 24"/>
          <p:cNvSpPr/>
          <p:nvPr/>
        </p:nvSpPr>
        <p:spPr>
          <a:xfrm>
            <a:off x="4746014" y="5455858"/>
            <a:ext cx="730714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БЮДЖЕТНОЕ УЧРЕЖДЕНИЕ</a:t>
            </a:r>
            <a:endParaRPr lang="ru-RU" sz="1400" b="1" dirty="0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4676930" y="5850556"/>
            <a:ext cx="3267419" cy="10279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</a:pPr>
            <a:endParaRPr lang="ru-RU" sz="2800" b="1" dirty="0" smtClean="0">
              <a:solidFill>
                <a:srgbClr val="C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363538">
              <a:lnSpc>
                <a:spcPct val="80000"/>
              </a:lnSpc>
            </a:pPr>
            <a:r>
              <a:rPr lang="ru-RU" sz="1600" b="1" dirty="0" smtClean="0">
                <a:latin typeface="Verdana" panose="020B0604030504040204" pitchFamily="34" charset="0"/>
                <a:ea typeface="Verdana" panose="020B0604030504040204" pitchFamily="34" charset="0"/>
              </a:rPr>
              <a:t>Стимулирует </a:t>
            </a:r>
            <a:r>
              <a:rPr lang="ru-RU" sz="1600" b="1" dirty="0">
                <a:latin typeface="Verdana" panose="020B0604030504040204" pitchFamily="34" charset="0"/>
                <a:ea typeface="Verdana" panose="020B0604030504040204" pitchFamily="34" charset="0"/>
              </a:rPr>
              <a:t>к приборному учету </a:t>
            </a:r>
            <a:r>
              <a:rPr lang="ru-RU" sz="1600" b="1" dirty="0" smtClean="0">
                <a:latin typeface="Verdana" panose="020B0604030504040204" pitchFamily="34" charset="0"/>
                <a:ea typeface="Verdana" panose="020B0604030504040204" pitchFamily="34" charset="0"/>
              </a:rPr>
              <a:t>и энергосбережению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12800690" y="5877218"/>
            <a:ext cx="3996055" cy="11264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80000"/>
              </a:lnSpc>
              <a:buFont typeface="Arial" panose="020B0604020202020204" pitchFamily="34" charset="0"/>
              <a:buChar char="•"/>
            </a:pPr>
            <a:endParaRPr lang="ru-RU" sz="1600" dirty="0" smtClean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0850">
              <a:lnSpc>
                <a:spcPct val="80000"/>
              </a:lnSpc>
            </a:pPr>
            <a:r>
              <a:rPr lang="ru-RU" sz="1600" b="1" dirty="0" err="1" smtClean="0">
                <a:latin typeface="Verdana" panose="020B0604030504040204" pitchFamily="34" charset="0"/>
                <a:ea typeface="Verdana" panose="020B0604030504040204" pitchFamily="34" charset="0"/>
              </a:rPr>
              <a:t>ДЕстимулирует</a:t>
            </a:r>
            <a:r>
              <a:rPr lang="ru-RU" sz="1600" b="1" dirty="0" smtClean="0">
                <a:latin typeface="Verdana" panose="020B0604030504040204" pitchFamily="34" charset="0"/>
                <a:ea typeface="Verdana" panose="020B0604030504040204" pitchFamily="34" charset="0"/>
              </a:rPr>
              <a:t> к приборному учету и  энергосбережению</a:t>
            </a:r>
            <a:endParaRPr lang="ru-RU" sz="1600" b="1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6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31" name="Диаграмма 30"/>
          <p:cNvGraphicFramePr/>
          <p:nvPr>
            <p:extLst>
              <p:ext uri="{D42A27DB-BD31-4B8C-83A1-F6EECF244321}">
                <p14:modId xmlns:p14="http://schemas.microsoft.com/office/powerpoint/2010/main" val="3533888495"/>
              </p:ext>
            </p:extLst>
          </p:nvPr>
        </p:nvGraphicFramePr>
        <p:xfrm>
          <a:off x="8644884" y="5125154"/>
          <a:ext cx="4017984" cy="23936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602795" y="9236616"/>
            <a:ext cx="16030191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dirty="0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* </a:t>
            </a:r>
            <a:r>
              <a:rPr lang="ru-RU" sz="10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в соответствии с Правилами коммерческого учета тепловой энергии, теплоносителя, утвержденные постановлением Правительства РФ от 18.11.2013 N 1034. </a:t>
            </a:r>
          </a:p>
          <a:p>
            <a:pPr algn="just"/>
            <a:r>
              <a:rPr lang="ru-RU" sz="1000" dirty="0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** в соответствии </a:t>
            </a:r>
            <a:r>
              <a:rPr lang="ru-RU" sz="10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с </a:t>
            </a:r>
            <a:r>
              <a:rPr lang="ru-RU" sz="1000" dirty="0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авилами </a:t>
            </a:r>
            <a:r>
              <a:rPr lang="ru-RU" sz="10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едоставления коммунальных услуг собственникам и пользователям помещений в многоквартирных домах и жилых </a:t>
            </a:r>
            <a:r>
              <a:rPr lang="ru-RU" sz="1000" dirty="0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домов</a:t>
            </a:r>
            <a:r>
              <a:rPr lang="ru-RU" sz="10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, утвержденных п</a:t>
            </a:r>
            <a:r>
              <a:rPr lang="ru-RU" sz="1000" dirty="0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становлением </a:t>
            </a:r>
            <a:r>
              <a:rPr lang="ru-RU" sz="10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авительства РФ от 06.05.2011 N </a:t>
            </a:r>
            <a:r>
              <a:rPr lang="ru-RU" sz="1000" dirty="0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354</a:t>
            </a:r>
            <a:r>
              <a:rPr lang="ru-RU" sz="10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.</a:t>
            </a:r>
          </a:p>
          <a:p>
            <a:pPr algn="just"/>
            <a:endParaRPr lang="ru-RU" sz="1000" dirty="0">
              <a:solidFill>
                <a:schemeClr val="bg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5486241" y="3889663"/>
            <a:ext cx="8534400" cy="40011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2000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Какие бывают расчетные методы?</a:t>
            </a:r>
            <a:endParaRPr lang="ru-RU" sz="2000" b="1" dirty="0">
              <a:ln w="9525">
                <a:solidFill>
                  <a:schemeClr val="bg1"/>
                </a:solidFill>
                <a:prstDash val="solid"/>
              </a:ln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12954257" y="5382413"/>
            <a:ext cx="339787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МНОГОКВАРТИРНЫЙ ДОМ 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852919" y="4554375"/>
            <a:ext cx="716919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800" b="1" dirty="0">
                <a:solidFill>
                  <a:schemeClr val="accent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О ДОГОВОРНОЙ (ПРОЕКТНОЙ) </a:t>
            </a:r>
            <a:r>
              <a:rPr lang="ru-RU" sz="1800" b="1" dirty="0" smtClean="0">
                <a:solidFill>
                  <a:schemeClr val="accent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АГРУЗКЕ*</a:t>
            </a:r>
            <a:r>
              <a:rPr lang="ru-RU" sz="1600" dirty="0" smtClean="0">
                <a:latin typeface="Verdana" panose="020B0604030504040204" pitchFamily="34" charset="0"/>
                <a:ea typeface="Verdana" panose="020B0604030504040204" pitchFamily="34" charset="0"/>
              </a:rPr>
              <a:t> - </a:t>
            </a:r>
          </a:p>
          <a:p>
            <a:r>
              <a:rPr lang="ru-RU" sz="1400" dirty="0" smtClean="0">
                <a:latin typeface="Verdana" panose="020B0604030504040204" pitchFamily="34" charset="0"/>
                <a:ea typeface="Verdana" panose="020B0604030504040204" pitchFamily="34" charset="0"/>
              </a:rPr>
              <a:t>определяется и обосновывается теплотехническим расчетом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8538054" y="4546561"/>
            <a:ext cx="815242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800" b="1" dirty="0" smtClean="0">
                <a:solidFill>
                  <a:schemeClr val="accent6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О НОРМАТИВАМ** </a:t>
            </a:r>
            <a:r>
              <a:rPr lang="ru-RU" sz="1800" b="1" dirty="0" smtClean="0">
                <a:solidFill>
                  <a:schemeClr val="accent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- </a:t>
            </a:r>
            <a:r>
              <a:rPr lang="ru-RU" sz="1400" dirty="0" smtClean="0">
                <a:latin typeface="Verdana" panose="020B0604030504040204" pitchFamily="34" charset="0"/>
                <a:ea typeface="Verdana" panose="020B0604030504040204" pitchFamily="34" charset="0"/>
              </a:rPr>
              <a:t>определяются </a:t>
            </a: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по усредненным </a:t>
            </a:r>
            <a:r>
              <a:rPr lang="ru-RU" sz="1400" dirty="0" smtClean="0">
                <a:latin typeface="Verdana" panose="020B0604030504040204" pitchFamily="34" charset="0"/>
                <a:ea typeface="Verdana" panose="020B0604030504040204" pitchFamily="34" charset="0"/>
              </a:rPr>
              <a:t>величинам (приоритет – метод аналогов)</a:t>
            </a:r>
            <a:endParaRPr lang="ru-RU" sz="14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ru-RU" sz="16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641191" y="4399489"/>
            <a:ext cx="7540500" cy="313035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641191" y="4428383"/>
            <a:ext cx="7620013" cy="3037578"/>
          </a:xfrm>
          <a:prstGeom prst="roundRect">
            <a:avLst/>
          </a:prstGeom>
          <a:noFill/>
          <a:ln w="19050" cap="flat" cmpd="sng" algn="ctr">
            <a:solidFill>
              <a:schemeClr val="tx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8426989" y="4381856"/>
            <a:ext cx="8263489" cy="3084105"/>
          </a:xfrm>
          <a:prstGeom prst="round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053" r="49913"/>
          <a:stretch/>
        </p:blipFill>
        <p:spPr>
          <a:xfrm>
            <a:off x="12473188" y="6070227"/>
            <a:ext cx="710930" cy="808303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783" b="40509"/>
          <a:stretch/>
        </p:blipFill>
        <p:spPr>
          <a:xfrm>
            <a:off x="4497278" y="5865067"/>
            <a:ext cx="778284" cy="904006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15223878" y="4096726"/>
            <a:ext cx="368984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 smtClean="0">
                <a:latin typeface="Verdana" panose="020B0604030504040204" pitchFamily="34" charset="0"/>
                <a:ea typeface="Verdana" panose="020B0604030504040204" pitchFamily="34" charset="0"/>
              </a:rPr>
              <a:t>ПРОБЛЕМА ЗДЕСЬ</a:t>
            </a: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326" r="83003"/>
          <a:stretch/>
        </p:blipFill>
        <p:spPr>
          <a:xfrm flipH="1">
            <a:off x="15764295" y="4428383"/>
            <a:ext cx="1248233" cy="63358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7561166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w82M5PuRxa7trLU_M9QQ"/>
</p:tagLst>
</file>

<file path=ppt/theme/theme1.xml><?xml version="1.0" encoding="utf-8"?>
<a:theme xmlns:a="http://schemas.openxmlformats.org/drawingml/2006/main" name="Fortum">
  <a:themeElements>
    <a:clrScheme name="fortum PPT 2017">
      <a:dk1>
        <a:srgbClr val="000000"/>
      </a:dk1>
      <a:lt1>
        <a:sysClr val="window" lastClr="FFFFFF"/>
      </a:lt1>
      <a:dk2>
        <a:srgbClr val="9BBDB6"/>
      </a:dk2>
      <a:lt2>
        <a:srgbClr val="B9B4AA"/>
      </a:lt2>
      <a:accent1>
        <a:srgbClr val="5AC37D"/>
      </a:accent1>
      <a:accent2>
        <a:srgbClr val="377A6C"/>
      </a:accent2>
      <a:accent3>
        <a:srgbClr val="78A0D4"/>
      </a:accent3>
      <a:accent4>
        <a:srgbClr val="003C79"/>
      </a:accent4>
      <a:accent5>
        <a:srgbClr val="F5E100"/>
      </a:accent5>
      <a:accent6>
        <a:srgbClr val="EB6437"/>
      </a:accent6>
      <a:hlink>
        <a:srgbClr val="5AC37D"/>
      </a:hlink>
      <a:folHlink>
        <a:srgbClr val="78A0D4"/>
      </a:folHlink>
    </a:clrScheme>
    <a:fontScheme name="fortu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Fortum_landscape_16_9.potx" id="{70DEE12B-2E46-4677-B647-0CC3368CF5A5}" vid="{3461ABA2-3710-44CF-AA07-6C3B3A937500}"/>
    </a:ext>
  </a:extLst>
</a:theme>
</file>

<file path=ppt/theme/theme2.xml><?xml version="1.0" encoding="utf-8"?>
<a:theme xmlns:a="http://schemas.openxmlformats.org/drawingml/2006/main" name="Office Theme">
  <a:themeElements>
    <a:clrScheme name="fortum PPT 2017">
      <a:dk1>
        <a:srgbClr val="000000"/>
      </a:dk1>
      <a:lt1>
        <a:sysClr val="window" lastClr="FFFFFF"/>
      </a:lt1>
      <a:dk2>
        <a:srgbClr val="9BBDB6"/>
      </a:dk2>
      <a:lt2>
        <a:srgbClr val="B9B4AA"/>
      </a:lt2>
      <a:accent1>
        <a:srgbClr val="5AC37D"/>
      </a:accent1>
      <a:accent2>
        <a:srgbClr val="377A6C"/>
      </a:accent2>
      <a:accent3>
        <a:srgbClr val="78A0D4"/>
      </a:accent3>
      <a:accent4>
        <a:srgbClr val="003C79"/>
      </a:accent4>
      <a:accent5>
        <a:srgbClr val="F5E100"/>
      </a:accent5>
      <a:accent6>
        <a:srgbClr val="EB6437"/>
      </a:accent6>
      <a:hlink>
        <a:srgbClr val="5AC37D"/>
      </a:hlink>
      <a:folHlink>
        <a:srgbClr val="78A0D4"/>
      </a:folHlink>
    </a:clrScheme>
    <a:fontScheme name="fortu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fortum PPT 2017">
      <a:dk1>
        <a:srgbClr val="000000"/>
      </a:dk1>
      <a:lt1>
        <a:sysClr val="window" lastClr="FFFFFF"/>
      </a:lt1>
      <a:dk2>
        <a:srgbClr val="9BBDB6"/>
      </a:dk2>
      <a:lt2>
        <a:srgbClr val="B9B4AA"/>
      </a:lt2>
      <a:accent1>
        <a:srgbClr val="5AC37D"/>
      </a:accent1>
      <a:accent2>
        <a:srgbClr val="377A6C"/>
      </a:accent2>
      <a:accent3>
        <a:srgbClr val="78A0D4"/>
      </a:accent3>
      <a:accent4>
        <a:srgbClr val="003C79"/>
      </a:accent4>
      <a:accent5>
        <a:srgbClr val="F5E100"/>
      </a:accent5>
      <a:accent6>
        <a:srgbClr val="EB6437"/>
      </a:accent6>
      <a:hlink>
        <a:srgbClr val="5AC37D"/>
      </a:hlink>
      <a:folHlink>
        <a:srgbClr val="78A0D4"/>
      </a:folHlink>
    </a:clrScheme>
    <a:fontScheme name="fortu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D989D23FA4D664297D3A77A968A64C2" ma:contentTypeVersion="11" ma:contentTypeDescription="Create a new document." ma:contentTypeScope="" ma:versionID="593e9b5c4c268f02016790aed35f5524">
  <xsd:schema xmlns:xsd="http://www.w3.org/2001/XMLSchema" xmlns:xs="http://www.w3.org/2001/XMLSchema" xmlns:p="http://schemas.microsoft.com/office/2006/metadata/properties" xmlns:ns3="1e03dc5b-7c48-4c17-bc63-bf71ed958f90" xmlns:ns4="785ea7de-9a2f-48a9-b947-b0954924fea5" targetNamespace="http://schemas.microsoft.com/office/2006/metadata/properties" ma:root="true" ma:fieldsID="473093187938ed8d8666d4fbb507bf87" ns3:_="" ns4:_="">
    <xsd:import namespace="1e03dc5b-7c48-4c17-bc63-bf71ed958f90"/>
    <xsd:import namespace="785ea7de-9a2f-48a9-b947-b0954924fea5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Locatio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e03dc5b-7c48-4c17-bc63-bf71ed958f9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MediaServiceLocation" ma:internalName="MediaServiceLocatio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85ea7de-9a2f-48a9-b947-b0954924fea5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6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59E40C62-8042-4D99-9BEF-4410A03A830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e03dc5b-7c48-4c17-bc63-bf71ed958f90"/>
    <ds:schemaRef ds:uri="785ea7de-9a2f-48a9-b947-b0954924fea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9653F50-97D8-4CAB-8508-4E1280CE540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CCF285D-908D-43CD-9CC8-16BBB8756508}">
  <ds:schemaRefs>
    <ds:schemaRef ds:uri="http://schemas.microsoft.com/office/2006/metadata/properties"/>
    <ds:schemaRef ds:uri="http://schemas.microsoft.com/office/infopath/2007/PartnerControls"/>
    <ds:schemaRef ds:uri="785ea7de-9a2f-48a9-b947-b0954924fea5"/>
    <ds:schemaRef ds:uri="http://purl.org/dc/elements/1.1/"/>
    <ds:schemaRef ds:uri="http://schemas.microsoft.com/office/2006/documentManagement/types"/>
    <ds:schemaRef ds:uri="http://purl.org/dc/dcmitype/"/>
    <ds:schemaRef ds:uri="1e03dc5b-7c48-4c17-bc63-bf71ed958f90"/>
    <ds:schemaRef ds:uri="http://schemas.openxmlformats.org/package/2006/metadata/core-properties"/>
    <ds:schemaRef ds:uri="http://www.w3.org/XML/1998/namespace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394</TotalTime>
  <Words>1847</Words>
  <Application>Microsoft Office PowerPoint</Application>
  <PresentationFormat>Произвольный</PresentationFormat>
  <Paragraphs>260</Paragraphs>
  <Slides>16</Slides>
  <Notes>5</Notes>
  <HiddenSlides>1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25" baseType="lpstr">
      <vt:lpstr>Arial</vt:lpstr>
      <vt:lpstr>Arial Narrow</vt:lpstr>
      <vt:lpstr>Calibri</vt:lpstr>
      <vt:lpstr>GT Eesti Pro Display Bold</vt:lpstr>
      <vt:lpstr>Times New Roman</vt:lpstr>
      <vt:lpstr>Verdana</vt:lpstr>
      <vt:lpstr>Wingdings</vt:lpstr>
      <vt:lpstr>Fortum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Текущее состояние </vt:lpstr>
      <vt:lpstr>Презентация PowerPoint</vt:lpstr>
      <vt:lpstr>Презентация PowerPoint</vt:lpstr>
      <vt:lpstr>Уровень оприборенности конечного потребителя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Manager>Fortum Oyj</Manager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rand change project team</dc:title>
  <dc:creator>Hanninen Tarja</dc:creator>
  <cp:lastModifiedBy>Ульянов Семен Александрович</cp:lastModifiedBy>
  <cp:revision>1392</cp:revision>
  <cp:lastPrinted>2022-06-30T13:09:51Z</cp:lastPrinted>
  <dcterms:created xsi:type="dcterms:W3CDTF">2016-11-16T14:11:40Z</dcterms:created>
  <dcterms:modified xsi:type="dcterms:W3CDTF">2026-03-11T14:16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vTieturiVerId">
    <vt:lpwstr>283.65.07.004</vt:lpwstr>
  </property>
  <property fmtid="{D5CDD505-2E9C-101B-9397-08002B2CF9AE}" pid="3" name="dvSaved">
    <vt:lpwstr>1</vt:lpwstr>
  </property>
  <property fmtid="{D5CDD505-2E9C-101B-9397-08002B2CF9AE}" pid="4" name="dvLanguage">
    <vt:lpwstr>1035</vt:lpwstr>
  </property>
  <property fmtid="{D5CDD505-2E9C-101B-9397-08002B2CF9AE}" pid="5" name="dvTemplate">
    <vt:lpwstr>Fortum_landscape_16_9.potx</vt:lpwstr>
  </property>
  <property fmtid="{D5CDD505-2E9C-101B-9397-08002B2CF9AE}" pid="6" name="dvDefinition">
    <vt:lpwstr>355 (dd_default.xml)</vt:lpwstr>
  </property>
  <property fmtid="{D5CDD505-2E9C-101B-9397-08002B2CF9AE}" pid="7" name="dvDefinitionID">
    <vt:lpwstr>355</vt:lpwstr>
  </property>
  <property fmtid="{D5CDD505-2E9C-101B-9397-08002B2CF9AE}" pid="8" name="dvContentFile">
    <vt:lpwstr>dd_default.xml</vt:lpwstr>
  </property>
  <property fmtid="{D5CDD505-2E9C-101B-9397-08002B2CF9AE}" pid="9" name="dvGlobalVerID">
    <vt:lpwstr>283.88.07.036</vt:lpwstr>
  </property>
  <property fmtid="{D5CDD505-2E9C-101B-9397-08002B2CF9AE}" pid="10" name="dvDefinitionVersion">
    <vt:lpwstr>1.0 / 25.5.2016</vt:lpwstr>
  </property>
  <property fmtid="{D5CDD505-2E9C-101B-9397-08002B2CF9AE}" pid="11" name="filename">
    <vt:lpwstr>false</vt:lpwstr>
  </property>
  <property fmtid="{D5CDD505-2E9C-101B-9397-08002B2CF9AE}" pid="12" name="filenameandpath">
    <vt:lpwstr>false</vt:lpwstr>
  </property>
  <property fmtid="{D5CDD505-2E9C-101B-9397-08002B2CF9AE}" pid="13" name="dvPagenumberExist">
    <vt:lpwstr>1</vt:lpwstr>
  </property>
  <property fmtid="{D5CDD505-2E9C-101B-9397-08002B2CF9AE}" pid="14" name="dvAuthorExist">
    <vt:lpwstr>0</vt:lpwstr>
  </property>
  <property fmtid="{D5CDD505-2E9C-101B-9397-08002B2CF9AE}" pid="15" name="dvDateExist">
    <vt:lpwstr>0</vt:lpwstr>
  </property>
  <property fmtid="{D5CDD505-2E9C-101B-9397-08002B2CF9AE}" pid="16" name="dvDisableDate">
    <vt:lpwstr>1</vt:lpwstr>
  </property>
  <property fmtid="{D5CDD505-2E9C-101B-9397-08002B2CF9AE}" pid="17" name="dvDisableAuthor">
    <vt:lpwstr>1</vt:lpwstr>
  </property>
  <property fmtid="{D5CDD505-2E9C-101B-9397-08002B2CF9AE}" pid="18" name="dvDisableSlidenumber">
    <vt:lpwstr>0</vt:lpwstr>
  </property>
  <property fmtid="{D5CDD505-2E9C-101B-9397-08002B2CF9AE}" pid="19" name="dvSavepath">
    <vt:lpwstr/>
  </property>
  <property fmtid="{D5CDD505-2E9C-101B-9397-08002B2CF9AE}" pid="20" name="dvUsed">
    <vt:lpwstr>1</vt:lpwstr>
  </property>
  <property fmtid="{D5CDD505-2E9C-101B-9397-08002B2CF9AE}" pid="21" name="dvCompany">
    <vt:lpwstr/>
  </property>
  <property fmtid="{D5CDD505-2E9C-101B-9397-08002B2CF9AE}" pid="22" name="dvCompanyList">
    <vt:lpwstr/>
  </property>
  <property fmtid="{D5CDD505-2E9C-101B-9397-08002B2CF9AE}" pid="23" name="dvSite">
    <vt:lpwstr/>
  </property>
  <property fmtid="{D5CDD505-2E9C-101B-9397-08002B2CF9AE}" pid="24" name="dvNumbering">
    <vt:lpwstr>0</vt:lpwstr>
  </property>
  <property fmtid="{D5CDD505-2E9C-101B-9397-08002B2CF9AE}" pid="25" name="dvDUname">
    <vt:lpwstr/>
  </property>
  <property fmtid="{D5CDD505-2E9C-101B-9397-08002B2CF9AE}" pid="26" name="dvDUdepartment">
    <vt:lpwstr/>
  </property>
  <property fmtid="{D5CDD505-2E9C-101B-9397-08002B2CF9AE}" pid="27" name="dvConfidentiality">
    <vt:lpwstr/>
  </property>
  <property fmtid="{D5CDD505-2E9C-101B-9397-08002B2CF9AE}" pid="28" name="dvLogoExist">
    <vt:lpwstr>0</vt:lpwstr>
  </property>
  <property fmtid="{D5CDD505-2E9C-101B-9397-08002B2CF9AE}" pid="29" name="CreateDate">
    <vt:lpwstr>16.11.2016</vt:lpwstr>
  </property>
  <property fmtid="{D5CDD505-2E9C-101B-9397-08002B2CF9AE}" pid="30" name="BU">
    <vt:lpwstr/>
  </property>
  <property fmtid="{D5CDD505-2E9C-101B-9397-08002B2CF9AE}" pid="31" name="FileAuthor">
    <vt:lpwstr/>
  </property>
  <property fmtid="{D5CDD505-2E9C-101B-9397-08002B2CF9AE}" pid="32" name="FortumDMConfidentialityTaxHTField0">
    <vt:lpwstr/>
  </property>
  <property fmtid="{D5CDD505-2E9C-101B-9397-08002B2CF9AE}" pid="33" name="FortumDMDocumentTypeTaxHTField0">
    <vt:lpwstr/>
  </property>
  <property fmtid="{D5CDD505-2E9C-101B-9397-08002B2CF9AE}" pid="34" name="FortumDMOrganisationTaxHTField0">
    <vt:lpwstr/>
  </property>
  <property fmtid="{D5CDD505-2E9C-101B-9397-08002B2CF9AE}" pid="35" name="ContentTypeId">
    <vt:lpwstr>0x0101003D989D23FA4D664297D3A77A968A64C2</vt:lpwstr>
  </property>
  <property fmtid="{D5CDD505-2E9C-101B-9397-08002B2CF9AE}" pid="36" name="_NewReviewCycle">
    <vt:lpwstr/>
  </property>
  <property fmtid="{D5CDD505-2E9C-101B-9397-08002B2CF9AE}" pid="37" name="MSIP_Label_65c3b1a5-3e25-4525-b923-a0572e679d8b_Enabled">
    <vt:lpwstr>True</vt:lpwstr>
  </property>
  <property fmtid="{D5CDD505-2E9C-101B-9397-08002B2CF9AE}" pid="38" name="MSIP_Label_65c3b1a5-3e25-4525-b923-a0572e679d8b_SiteId">
    <vt:lpwstr>62a9c2c8-8b09-43be-a7fb-9a87875714a9</vt:lpwstr>
  </property>
  <property fmtid="{D5CDD505-2E9C-101B-9397-08002B2CF9AE}" pid="39" name="MSIP_Label_65c3b1a5-3e25-4525-b923-a0572e679d8b_Ref">
    <vt:lpwstr>https://api.informationprotection.azure.com/api/62a9c2c8-8b09-43be-a7fb-9a87875714a9</vt:lpwstr>
  </property>
  <property fmtid="{D5CDD505-2E9C-101B-9397-08002B2CF9AE}" pid="40" name="MSIP_Label_65c3b1a5-3e25-4525-b923-a0572e679d8b_Owner">
    <vt:lpwstr>dmitriy.listopadov@fortum.com</vt:lpwstr>
  </property>
  <property fmtid="{D5CDD505-2E9C-101B-9397-08002B2CF9AE}" pid="41" name="MSIP_Label_65c3b1a5-3e25-4525-b923-a0572e679d8b_SetDate">
    <vt:lpwstr>2018-02-09T18:57:37.3863431+03:00</vt:lpwstr>
  </property>
  <property fmtid="{D5CDD505-2E9C-101B-9397-08002B2CF9AE}" pid="42" name="MSIP_Label_65c3b1a5-3e25-4525-b923-a0572e679d8b_Name">
    <vt:lpwstr>Internal</vt:lpwstr>
  </property>
  <property fmtid="{D5CDD505-2E9C-101B-9397-08002B2CF9AE}" pid="43" name="MSIP_Label_65c3b1a5-3e25-4525-b923-a0572e679d8b_Application">
    <vt:lpwstr>Microsoft Azure Information Protection</vt:lpwstr>
  </property>
  <property fmtid="{D5CDD505-2E9C-101B-9397-08002B2CF9AE}" pid="44" name="MSIP_Label_65c3b1a5-3e25-4525-b923-a0572e679d8b_Extended_MSFT_Method">
    <vt:lpwstr>Automatic</vt:lpwstr>
  </property>
  <property fmtid="{D5CDD505-2E9C-101B-9397-08002B2CF9AE}" pid="45" name="MSIP_Label_f45044c0-b6aa-4b2b-834d-65c9ef8bb134_Enabled">
    <vt:lpwstr>True</vt:lpwstr>
  </property>
  <property fmtid="{D5CDD505-2E9C-101B-9397-08002B2CF9AE}" pid="46" name="MSIP_Label_f45044c0-b6aa-4b2b-834d-65c9ef8bb134_SiteId">
    <vt:lpwstr>62a9c2c8-8b09-43be-a7fb-9a87875714a9</vt:lpwstr>
  </property>
  <property fmtid="{D5CDD505-2E9C-101B-9397-08002B2CF9AE}" pid="47" name="MSIP_Label_f45044c0-b6aa-4b2b-834d-65c9ef8bb134_Ref">
    <vt:lpwstr>https://api.informationprotection.azure.com/api/62a9c2c8-8b09-43be-a7fb-9a87875714a9</vt:lpwstr>
  </property>
  <property fmtid="{D5CDD505-2E9C-101B-9397-08002B2CF9AE}" pid="48" name="MSIP_Label_f45044c0-b6aa-4b2b-834d-65c9ef8bb134_Owner">
    <vt:lpwstr>dmitriy.listopadov@fortum.com</vt:lpwstr>
  </property>
  <property fmtid="{D5CDD505-2E9C-101B-9397-08002B2CF9AE}" pid="49" name="MSIP_Label_f45044c0-b6aa-4b2b-834d-65c9ef8bb134_SetDate">
    <vt:lpwstr>2018-02-09T18:57:37.3863431+03:00</vt:lpwstr>
  </property>
  <property fmtid="{D5CDD505-2E9C-101B-9397-08002B2CF9AE}" pid="50" name="MSIP_Label_f45044c0-b6aa-4b2b-834d-65c9ef8bb134_Name">
    <vt:lpwstr>Hide Visual Label</vt:lpwstr>
  </property>
  <property fmtid="{D5CDD505-2E9C-101B-9397-08002B2CF9AE}" pid="51" name="MSIP_Label_f45044c0-b6aa-4b2b-834d-65c9ef8bb134_Application">
    <vt:lpwstr>Microsoft Azure Information Protection</vt:lpwstr>
  </property>
  <property fmtid="{D5CDD505-2E9C-101B-9397-08002B2CF9AE}" pid="52" name="MSIP_Label_f45044c0-b6aa-4b2b-834d-65c9ef8bb134_Extended_MSFT_Method">
    <vt:lpwstr>Automatic</vt:lpwstr>
  </property>
  <property fmtid="{D5CDD505-2E9C-101B-9397-08002B2CF9AE}" pid="53" name="MSIP_Label_f45044c0-b6aa-4b2b-834d-65c9ef8bb134_Parent">
    <vt:lpwstr>65c3b1a5-3e25-4525-b923-a0572e679d8b</vt:lpwstr>
  </property>
  <property fmtid="{D5CDD505-2E9C-101B-9397-08002B2CF9AE}" pid="54" name="Sensitivity">
    <vt:lpwstr>Internal Hide Visual Label</vt:lpwstr>
  </property>
</Properties>
</file>